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heme/theme2.xml" ContentType="application/vnd.openxmlformats-officedocument.theme+xml"/>
  <Override PartName="/ppt/tags/tag13.xml" ContentType="application/vnd.openxmlformats-officedocument.presentationml.tags+xml"/>
  <Override PartName="/ppt/notesSlides/notesSlide1.xml" ContentType="application/vnd.openxmlformats-officedocument.presentationml.notesSlide+xml"/>
  <Override PartName="/ppt/tags/tag14.xml" ContentType="application/vnd.openxmlformats-officedocument.presentationml.tags+xml"/>
  <Override PartName="/ppt/notesSlides/notesSlide2.xml" ContentType="application/vnd.openxmlformats-officedocument.presentationml.notesSlide+xml"/>
  <Override PartName="/ppt/tags/tag15.xml" ContentType="application/vnd.openxmlformats-officedocument.presentationml.tags+xml"/>
  <Override PartName="/ppt/notesSlides/notesSlide3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notesMasterIdLst>
    <p:notesMasterId r:id="rId9"/>
  </p:notesMasterIdLst>
  <p:sldIdLst>
    <p:sldId id="556" r:id="rId5"/>
    <p:sldId id="461" r:id="rId6"/>
    <p:sldId id="457" r:id="rId7"/>
    <p:sldId id="472" r:id="rId8"/>
  </p:sldIdLst>
  <p:sldSz cx="12192000" cy="6858000"/>
  <p:notesSz cx="6858000" cy="9144000"/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E18AE115-BAAC-4FC4-BF17-30CFFAAAE5FC}" v="153" dt="2026-06-04T08:15:25.243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6014" autoAdjust="0"/>
    <p:restoredTop sz="94660"/>
  </p:normalViewPr>
  <p:slideViewPr>
    <p:cSldViewPr snapToGrid="0">
      <p:cViewPr varScale="1">
        <p:scale>
          <a:sx n="63" d="100"/>
          <a:sy n="63" d="100"/>
        </p:scale>
        <p:origin x="72" y="20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theme" Target="theme/theme1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viewProps" Target="viewProps.xml"/><Relationship Id="rId5" Type="http://schemas.openxmlformats.org/officeDocument/2006/relationships/slide" Target="slides/slide1.xml"/><Relationship Id="rId15" Type="http://schemas.microsoft.com/office/2015/10/relationships/revisionInfo" Target="revisionInfo.xml"/><Relationship Id="rId10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notesMaster" Target="notesMasters/notesMaster1.xml"/><Relationship Id="rId14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Solberg, Aleksander - SGDN" userId="8f36fb2a-0381-4954-a34a-830f400e5ab1" providerId="ADAL" clId="{18C792F8-BBC9-4E46-9DB6-66A9E67065EA}"/>
    <pc:docChg chg="undo custSel addSld delSld modSld sldOrd">
      <pc:chgData name="Solberg, Aleksander - SGDN" userId="8f36fb2a-0381-4954-a34a-830f400e5ab1" providerId="ADAL" clId="{18C792F8-BBC9-4E46-9DB6-66A9E67065EA}" dt="2026-06-04T12:32:49.982" v="4995" actId="20577"/>
      <pc:docMkLst>
        <pc:docMk/>
      </pc:docMkLst>
      <pc:sldChg chg="del">
        <pc:chgData name="Solberg, Aleksander - SGDN" userId="8f36fb2a-0381-4954-a34a-830f400e5ab1" providerId="ADAL" clId="{18C792F8-BBC9-4E46-9DB6-66A9E67065EA}" dt="2026-06-03T07:47:11.239" v="2332" actId="47"/>
        <pc:sldMkLst>
          <pc:docMk/>
          <pc:sldMk cId="3325284799" sldId="257"/>
        </pc:sldMkLst>
      </pc:sldChg>
      <pc:sldChg chg="modSp new del mod">
        <pc:chgData name="Solberg, Aleksander - SGDN" userId="8f36fb2a-0381-4954-a34a-830f400e5ab1" providerId="ADAL" clId="{18C792F8-BBC9-4E46-9DB6-66A9E67065EA}" dt="2026-06-04T08:13:38.145" v="3860" actId="47"/>
        <pc:sldMkLst>
          <pc:docMk/>
          <pc:sldMk cId="2041667723" sldId="258"/>
        </pc:sldMkLst>
        <pc:spChg chg="mod">
          <ac:chgData name="Solberg, Aleksander - SGDN" userId="8f36fb2a-0381-4954-a34a-830f400e5ab1" providerId="ADAL" clId="{18C792F8-BBC9-4E46-9DB6-66A9E67065EA}" dt="2026-06-03T07:11:17.848" v="281" actId="20577"/>
          <ac:spMkLst>
            <pc:docMk/>
            <pc:sldMk cId="2041667723" sldId="258"/>
            <ac:spMk id="5" creationId="{65485A4F-6221-530C-E778-6B3E938FF7F9}"/>
          </ac:spMkLst>
        </pc:spChg>
        <pc:spChg chg="mod">
          <ac:chgData name="Solberg, Aleksander - SGDN" userId="8f36fb2a-0381-4954-a34a-830f400e5ab1" providerId="ADAL" clId="{18C792F8-BBC9-4E46-9DB6-66A9E67065EA}" dt="2026-06-03T07:07:25.072" v="199" actId="20577"/>
          <ac:spMkLst>
            <pc:docMk/>
            <pc:sldMk cId="2041667723" sldId="258"/>
            <ac:spMk id="7" creationId="{7B69D2E7-3FE3-B24B-7647-36753BB7BEF0}"/>
          </ac:spMkLst>
        </pc:spChg>
      </pc:sldChg>
      <pc:sldChg chg="new del">
        <pc:chgData name="Solberg, Aleksander - SGDN" userId="8f36fb2a-0381-4954-a34a-830f400e5ab1" providerId="ADAL" clId="{18C792F8-BBC9-4E46-9DB6-66A9E67065EA}" dt="2026-06-03T07:07:37.088" v="203" actId="2696"/>
        <pc:sldMkLst>
          <pc:docMk/>
          <pc:sldMk cId="2143898729" sldId="259"/>
        </pc:sldMkLst>
      </pc:sldChg>
      <pc:sldChg chg="modSp new del mod">
        <pc:chgData name="Solberg, Aleksander - SGDN" userId="8f36fb2a-0381-4954-a34a-830f400e5ab1" providerId="ADAL" clId="{18C792F8-BBC9-4E46-9DB6-66A9E67065EA}" dt="2026-06-03T07:09:30.455" v="217" actId="47"/>
        <pc:sldMkLst>
          <pc:docMk/>
          <pc:sldMk cId="2230372661" sldId="259"/>
        </pc:sldMkLst>
        <pc:spChg chg="mod">
          <ac:chgData name="Solberg, Aleksander - SGDN" userId="8f36fb2a-0381-4954-a34a-830f400e5ab1" providerId="ADAL" clId="{18C792F8-BBC9-4E46-9DB6-66A9E67065EA}" dt="2026-06-03T07:08:08.012" v="213" actId="120"/>
          <ac:spMkLst>
            <pc:docMk/>
            <pc:sldMk cId="2230372661" sldId="259"/>
            <ac:spMk id="3" creationId="{01EB694B-6945-BF6E-33B8-766F160FEC6B}"/>
          </ac:spMkLst>
        </pc:spChg>
      </pc:sldChg>
      <pc:sldChg chg="new del">
        <pc:chgData name="Solberg, Aleksander - SGDN" userId="8f36fb2a-0381-4954-a34a-830f400e5ab1" providerId="ADAL" clId="{18C792F8-BBC9-4E46-9DB6-66A9E67065EA}" dt="2026-06-03T07:07:35.058" v="202" actId="2696"/>
        <pc:sldMkLst>
          <pc:docMk/>
          <pc:sldMk cId="1047768021" sldId="260"/>
        </pc:sldMkLst>
      </pc:sldChg>
      <pc:sldChg chg="add del">
        <pc:chgData name="Solberg, Aleksander - SGDN" userId="8f36fb2a-0381-4954-a34a-830f400e5ab1" providerId="ADAL" clId="{18C792F8-BBC9-4E46-9DB6-66A9E67065EA}" dt="2026-06-03T07:53:53.026" v="2737" actId="47"/>
        <pc:sldMkLst>
          <pc:docMk/>
          <pc:sldMk cId="1192224954" sldId="394"/>
        </pc:sldMkLst>
      </pc:sldChg>
      <pc:sldChg chg="add del">
        <pc:chgData name="Solberg, Aleksander - SGDN" userId="8f36fb2a-0381-4954-a34a-830f400e5ab1" providerId="ADAL" clId="{18C792F8-BBC9-4E46-9DB6-66A9E67065EA}" dt="2026-06-03T07:53:34.482" v="2732" actId="47"/>
        <pc:sldMkLst>
          <pc:docMk/>
          <pc:sldMk cId="344798403" sldId="399"/>
        </pc:sldMkLst>
      </pc:sldChg>
      <pc:sldChg chg="add del">
        <pc:chgData name="Solberg, Aleksander - SGDN" userId="8f36fb2a-0381-4954-a34a-830f400e5ab1" providerId="ADAL" clId="{18C792F8-BBC9-4E46-9DB6-66A9E67065EA}" dt="2026-06-03T07:24:09.863" v="1229" actId="47"/>
        <pc:sldMkLst>
          <pc:docMk/>
          <pc:sldMk cId="2477459361" sldId="423"/>
        </pc:sldMkLst>
      </pc:sldChg>
      <pc:sldChg chg="add del">
        <pc:chgData name="Solberg, Aleksander - SGDN" userId="8f36fb2a-0381-4954-a34a-830f400e5ab1" providerId="ADAL" clId="{18C792F8-BBC9-4E46-9DB6-66A9E67065EA}" dt="2026-06-03T07:23:52.008" v="1226" actId="47"/>
        <pc:sldMkLst>
          <pc:docMk/>
          <pc:sldMk cId="3748790021" sldId="424"/>
        </pc:sldMkLst>
      </pc:sldChg>
      <pc:sldChg chg="addSp delSp modSp add mod ord">
        <pc:chgData name="Solberg, Aleksander - SGDN" userId="8f36fb2a-0381-4954-a34a-830f400e5ab1" providerId="ADAL" clId="{18C792F8-BBC9-4E46-9DB6-66A9E67065EA}" dt="2026-06-04T12:32:49.982" v="4995" actId="20577"/>
        <pc:sldMkLst>
          <pc:docMk/>
          <pc:sldMk cId="1590951470" sldId="457"/>
        </pc:sldMkLst>
        <pc:spChg chg="mod">
          <ac:chgData name="Solberg, Aleksander - SGDN" userId="8f36fb2a-0381-4954-a34a-830f400e5ab1" providerId="ADAL" clId="{18C792F8-BBC9-4E46-9DB6-66A9E67065EA}" dt="2026-06-04T12:32:49.982" v="4995" actId="20577"/>
          <ac:spMkLst>
            <pc:docMk/>
            <pc:sldMk cId="1590951470" sldId="457"/>
            <ac:spMk id="5" creationId="{8773583C-8FC2-6DE5-8C98-3C254A21D92E}"/>
          </ac:spMkLst>
        </pc:spChg>
        <pc:spChg chg="del mod">
          <ac:chgData name="Solberg, Aleksander - SGDN" userId="8f36fb2a-0381-4954-a34a-830f400e5ab1" providerId="ADAL" clId="{18C792F8-BBC9-4E46-9DB6-66A9E67065EA}" dt="2026-06-04T08:13:46.102" v="3862" actId="478"/>
          <ac:spMkLst>
            <pc:docMk/>
            <pc:sldMk cId="1590951470" sldId="457"/>
            <ac:spMk id="6" creationId="{D2B9BC94-0D99-A3D4-9BB8-F570D8BF87F6}"/>
          </ac:spMkLst>
        </pc:spChg>
        <pc:spChg chg="add del mod">
          <ac:chgData name="Solberg, Aleksander - SGDN" userId="8f36fb2a-0381-4954-a34a-830f400e5ab1" providerId="ADAL" clId="{18C792F8-BBC9-4E46-9DB6-66A9E67065EA}" dt="2026-06-04T08:13:49.443" v="3863" actId="478"/>
          <ac:spMkLst>
            <pc:docMk/>
            <pc:sldMk cId="1590951470" sldId="457"/>
            <ac:spMk id="7" creationId="{FECA0D4E-B906-360D-B982-401DFCEB6CFB}"/>
          </ac:spMkLst>
        </pc:spChg>
        <pc:spChg chg="mod">
          <ac:chgData name="Solberg, Aleksander - SGDN" userId="8f36fb2a-0381-4954-a34a-830f400e5ab1" providerId="ADAL" clId="{18C792F8-BBC9-4E46-9DB6-66A9E67065EA}" dt="2026-06-04T11:57:23.770" v="4698" actId="20577"/>
          <ac:spMkLst>
            <pc:docMk/>
            <pc:sldMk cId="1590951470" sldId="457"/>
            <ac:spMk id="8" creationId="{8216748D-8151-02D6-8D27-5C30A86C32B5}"/>
          </ac:spMkLst>
        </pc:spChg>
        <pc:spChg chg="add del mod">
          <ac:chgData name="Solberg, Aleksander - SGDN" userId="8f36fb2a-0381-4954-a34a-830f400e5ab1" providerId="ADAL" clId="{18C792F8-BBC9-4E46-9DB6-66A9E67065EA}" dt="2026-06-04T08:13:49.443" v="3863" actId="478"/>
          <ac:spMkLst>
            <pc:docMk/>
            <pc:sldMk cId="1590951470" sldId="457"/>
            <ac:spMk id="10" creationId="{D9FEA4A4-A4E5-2FB4-3751-E4141A24B6DD}"/>
          </ac:spMkLst>
        </pc:spChg>
        <pc:spChg chg="del mod">
          <ac:chgData name="Solberg, Aleksander - SGDN" userId="8f36fb2a-0381-4954-a34a-830f400e5ab1" providerId="ADAL" clId="{18C792F8-BBC9-4E46-9DB6-66A9E67065EA}" dt="2026-06-04T08:13:41.184" v="3861" actId="478"/>
          <ac:spMkLst>
            <pc:docMk/>
            <pc:sldMk cId="1590951470" sldId="457"/>
            <ac:spMk id="11" creationId="{FC2F04FC-7172-678F-1C5F-A2E00F9DBD70}"/>
          </ac:spMkLst>
        </pc:spChg>
        <pc:spChg chg="mod">
          <ac:chgData name="Solberg, Aleksander - SGDN" userId="8f36fb2a-0381-4954-a34a-830f400e5ab1" providerId="ADAL" clId="{18C792F8-BBC9-4E46-9DB6-66A9E67065EA}" dt="2026-06-04T12:26:29.955" v="4858" actId="20577"/>
          <ac:spMkLst>
            <pc:docMk/>
            <pc:sldMk cId="1590951470" sldId="457"/>
            <ac:spMk id="12" creationId="{020281EA-689A-DFB6-DC7D-D9AA7B6088FB}"/>
          </ac:spMkLst>
        </pc:spChg>
        <pc:spChg chg="mod">
          <ac:chgData name="Solberg, Aleksander - SGDN" userId="8f36fb2a-0381-4954-a34a-830f400e5ab1" providerId="ADAL" clId="{18C792F8-BBC9-4E46-9DB6-66A9E67065EA}" dt="2026-06-04T12:25:08.223" v="4846" actId="20577"/>
          <ac:spMkLst>
            <pc:docMk/>
            <pc:sldMk cId="1590951470" sldId="457"/>
            <ac:spMk id="14" creationId="{4BC7FE54-C461-1933-0DBE-E2EF634B5D3B}"/>
          </ac:spMkLst>
        </pc:spChg>
        <pc:spChg chg="del">
          <ac:chgData name="Solberg, Aleksander - SGDN" userId="8f36fb2a-0381-4954-a34a-830f400e5ab1" providerId="ADAL" clId="{18C792F8-BBC9-4E46-9DB6-66A9E67065EA}" dt="2026-06-03T07:56:04.911" v="3056" actId="478"/>
          <ac:spMkLst>
            <pc:docMk/>
            <pc:sldMk cId="1590951470" sldId="457"/>
            <ac:spMk id="15" creationId="{72A027B9-6636-9707-782A-DFA3AFA95CF7}"/>
          </ac:spMkLst>
        </pc:spChg>
        <pc:spChg chg="del">
          <ac:chgData name="Solberg, Aleksander - SGDN" userId="8f36fb2a-0381-4954-a34a-830f400e5ab1" providerId="ADAL" clId="{18C792F8-BBC9-4E46-9DB6-66A9E67065EA}" dt="2026-06-03T07:56:06.286" v="3057" actId="478"/>
          <ac:spMkLst>
            <pc:docMk/>
            <pc:sldMk cId="1590951470" sldId="457"/>
            <ac:spMk id="16" creationId="{65AD0C97-CCC5-1096-EC16-921A2BB2B71C}"/>
          </ac:spMkLst>
        </pc:spChg>
      </pc:sldChg>
      <pc:sldChg chg="add del">
        <pc:chgData name="Solberg, Aleksander - SGDN" userId="8f36fb2a-0381-4954-a34a-830f400e5ab1" providerId="ADAL" clId="{18C792F8-BBC9-4E46-9DB6-66A9E67065EA}" dt="2026-06-03T07:55:58.533" v="3053" actId="47"/>
        <pc:sldMkLst>
          <pc:docMk/>
          <pc:sldMk cId="38410744" sldId="458"/>
        </pc:sldMkLst>
      </pc:sldChg>
      <pc:sldChg chg="add del">
        <pc:chgData name="Solberg, Aleksander - SGDN" userId="8f36fb2a-0381-4954-a34a-830f400e5ab1" providerId="ADAL" clId="{18C792F8-BBC9-4E46-9DB6-66A9E67065EA}" dt="2026-06-03T07:56:00.769" v="3055" actId="47"/>
        <pc:sldMkLst>
          <pc:docMk/>
          <pc:sldMk cId="975062239" sldId="460"/>
        </pc:sldMkLst>
      </pc:sldChg>
      <pc:sldChg chg="modSp add del mod">
        <pc:chgData name="Solberg, Aleksander - SGDN" userId="8f36fb2a-0381-4954-a34a-830f400e5ab1" providerId="ADAL" clId="{18C792F8-BBC9-4E46-9DB6-66A9E67065EA}" dt="2026-06-03T07:55:59.686" v="3054" actId="47"/>
        <pc:sldMkLst>
          <pc:docMk/>
          <pc:sldMk cId="385897411" sldId="461"/>
        </pc:sldMkLst>
        <pc:spChg chg="mod">
          <ac:chgData name="Solberg, Aleksander - SGDN" userId="8f36fb2a-0381-4954-a34a-830f400e5ab1" providerId="ADAL" clId="{18C792F8-BBC9-4E46-9DB6-66A9E67065EA}" dt="2026-06-03T07:55:40.801" v="3049" actId="20577"/>
          <ac:spMkLst>
            <pc:docMk/>
            <pc:sldMk cId="385897411" sldId="461"/>
            <ac:spMk id="3" creationId="{C1210AEF-7C6A-C5D7-1981-0111DB2BEAD0}"/>
          </ac:spMkLst>
        </pc:spChg>
        <pc:spChg chg="mod">
          <ac:chgData name="Solberg, Aleksander - SGDN" userId="8f36fb2a-0381-4954-a34a-830f400e5ab1" providerId="ADAL" clId="{18C792F8-BBC9-4E46-9DB6-66A9E67065EA}" dt="2026-06-03T07:54:18.271" v="2759" actId="20577"/>
          <ac:spMkLst>
            <pc:docMk/>
            <pc:sldMk cId="385897411" sldId="461"/>
            <ac:spMk id="21" creationId="{6CB74D95-C26F-11B3-02A5-9EAB14717AB1}"/>
          </ac:spMkLst>
        </pc:spChg>
        <pc:spChg chg="mod">
          <ac:chgData name="Solberg, Aleksander - SGDN" userId="8f36fb2a-0381-4954-a34a-830f400e5ab1" providerId="ADAL" clId="{18C792F8-BBC9-4E46-9DB6-66A9E67065EA}" dt="2026-06-03T07:54:54.495" v="2850" actId="20577"/>
          <ac:spMkLst>
            <pc:docMk/>
            <pc:sldMk cId="385897411" sldId="461"/>
            <ac:spMk id="22" creationId="{00B7AF34-3F98-FC8E-DE96-B833D8DEDDB2}"/>
          </ac:spMkLst>
        </pc:spChg>
      </pc:sldChg>
      <pc:sldChg chg="addSp delSp modSp add mod ord">
        <pc:chgData name="Solberg, Aleksander - SGDN" userId="8f36fb2a-0381-4954-a34a-830f400e5ab1" providerId="ADAL" clId="{18C792F8-BBC9-4E46-9DB6-66A9E67065EA}" dt="2026-06-04T12:30:28.471" v="4962" actId="20577"/>
        <pc:sldMkLst>
          <pc:docMk/>
          <pc:sldMk cId="1096136275" sldId="461"/>
        </pc:sldMkLst>
        <pc:spChg chg="mod">
          <ac:chgData name="Solberg, Aleksander - SGDN" userId="8f36fb2a-0381-4954-a34a-830f400e5ab1" providerId="ADAL" clId="{18C792F8-BBC9-4E46-9DB6-66A9E67065EA}" dt="2026-06-04T12:30:28.471" v="4962" actId="20577"/>
          <ac:spMkLst>
            <pc:docMk/>
            <pc:sldMk cId="1096136275" sldId="461"/>
            <ac:spMk id="3" creationId="{C1210AEF-7C6A-C5D7-1981-0111DB2BEAD0}"/>
          </ac:spMkLst>
        </pc:spChg>
        <pc:spChg chg="del">
          <ac:chgData name="Solberg, Aleksander - SGDN" userId="8f36fb2a-0381-4954-a34a-830f400e5ab1" providerId="ADAL" clId="{18C792F8-BBC9-4E46-9DB6-66A9E67065EA}" dt="2026-06-04T09:15:24.002" v="3987" actId="478"/>
          <ac:spMkLst>
            <pc:docMk/>
            <pc:sldMk cId="1096136275" sldId="461"/>
            <ac:spMk id="6" creationId="{F7B50220-518D-5BF1-DFE2-0D464CAF28E1}"/>
          </ac:spMkLst>
        </pc:spChg>
        <pc:spChg chg="mod">
          <ac:chgData name="Solberg, Aleksander - SGDN" userId="8f36fb2a-0381-4954-a34a-830f400e5ab1" providerId="ADAL" clId="{18C792F8-BBC9-4E46-9DB6-66A9E67065EA}" dt="2026-06-04T12:26:38.798" v="4866" actId="20577"/>
          <ac:spMkLst>
            <pc:docMk/>
            <pc:sldMk cId="1096136275" sldId="461"/>
            <ac:spMk id="7" creationId="{CF8CC9C8-D52C-7ED0-F361-53D24446B437}"/>
          </ac:spMkLst>
        </pc:spChg>
        <pc:spChg chg="add del mod">
          <ac:chgData name="Solberg, Aleksander - SGDN" userId="8f36fb2a-0381-4954-a34a-830f400e5ab1" providerId="ADAL" clId="{18C792F8-BBC9-4E46-9DB6-66A9E67065EA}" dt="2026-06-03T08:07:37.367" v="3854" actId="931"/>
          <ac:spMkLst>
            <pc:docMk/>
            <pc:sldMk cId="1096136275" sldId="461"/>
            <ac:spMk id="9" creationId="{F30CB201-3BAC-3199-B85F-626E7E1D0026}"/>
          </ac:spMkLst>
        </pc:spChg>
        <pc:spChg chg="add del mod">
          <ac:chgData name="Solberg, Aleksander - SGDN" userId="8f36fb2a-0381-4954-a34a-830f400e5ab1" providerId="ADAL" clId="{18C792F8-BBC9-4E46-9DB6-66A9E67065EA}" dt="2026-06-03T08:08:30.233" v="3856" actId="931"/>
          <ac:spMkLst>
            <pc:docMk/>
            <pc:sldMk cId="1096136275" sldId="461"/>
            <ac:spMk id="14" creationId="{2403285D-418F-9D6A-5BDD-8E09A7A53116}"/>
          </ac:spMkLst>
        </pc:spChg>
        <pc:spChg chg="add del mod">
          <ac:chgData name="Solberg, Aleksander - SGDN" userId="8f36fb2a-0381-4954-a34a-830f400e5ab1" providerId="ADAL" clId="{18C792F8-BBC9-4E46-9DB6-66A9E67065EA}" dt="2026-06-03T08:09:54.900" v="3858" actId="22"/>
          <ac:spMkLst>
            <pc:docMk/>
            <pc:sldMk cId="1096136275" sldId="461"/>
            <ac:spMk id="18" creationId="{1BF3D0F1-AA44-C13B-99E0-C380C78AFEA0}"/>
          </ac:spMkLst>
        </pc:spChg>
        <pc:spChg chg="mod">
          <ac:chgData name="Solberg, Aleksander - SGDN" userId="8f36fb2a-0381-4954-a34a-830f400e5ab1" providerId="ADAL" clId="{18C792F8-BBC9-4E46-9DB6-66A9E67065EA}" dt="2026-06-03T08:03:59.727" v="3852" actId="20577"/>
          <ac:spMkLst>
            <pc:docMk/>
            <pc:sldMk cId="1096136275" sldId="461"/>
            <ac:spMk id="21" creationId="{6CB74D95-C26F-11B3-02A5-9EAB14717AB1}"/>
          </ac:spMkLst>
        </pc:spChg>
        <pc:spChg chg="mod">
          <ac:chgData name="Solberg, Aleksander - SGDN" userId="8f36fb2a-0381-4954-a34a-830f400e5ab1" providerId="ADAL" clId="{18C792F8-BBC9-4E46-9DB6-66A9E67065EA}" dt="2026-06-04T09:16:18.525" v="4016" actId="5793"/>
          <ac:spMkLst>
            <pc:docMk/>
            <pc:sldMk cId="1096136275" sldId="461"/>
            <ac:spMk id="22" creationId="{00B7AF34-3F98-FC8E-DE96-B833D8DEDDB2}"/>
          </ac:spMkLst>
        </pc:spChg>
        <pc:spChg chg="add del mod">
          <ac:chgData name="Solberg, Aleksander - SGDN" userId="8f36fb2a-0381-4954-a34a-830f400e5ab1" providerId="ADAL" clId="{18C792F8-BBC9-4E46-9DB6-66A9E67065EA}" dt="2026-06-04T09:15:11.873" v="3984" actId="478"/>
          <ac:spMkLst>
            <pc:docMk/>
            <pc:sldMk cId="1096136275" sldId="461"/>
            <ac:spMk id="24" creationId="{6CFB90DF-7772-F3F6-F9E4-6840FAD87512}"/>
          </ac:spMkLst>
        </pc:spChg>
        <pc:spChg chg="del">
          <ac:chgData name="Solberg, Aleksander - SGDN" userId="8f36fb2a-0381-4954-a34a-830f400e5ab1" providerId="ADAL" clId="{18C792F8-BBC9-4E46-9DB6-66A9E67065EA}" dt="2026-06-04T09:15:18.954" v="3985" actId="478"/>
          <ac:spMkLst>
            <pc:docMk/>
            <pc:sldMk cId="1096136275" sldId="461"/>
            <ac:spMk id="25" creationId="{50C65531-D009-18A4-CCC1-CFE95F82AC72}"/>
          </ac:spMkLst>
        </pc:spChg>
        <pc:spChg chg="add del mod">
          <ac:chgData name="Solberg, Aleksander - SGDN" userId="8f36fb2a-0381-4954-a34a-830f400e5ab1" providerId="ADAL" clId="{18C792F8-BBC9-4E46-9DB6-66A9E67065EA}" dt="2026-06-04T09:15:21.685" v="3986" actId="478"/>
          <ac:spMkLst>
            <pc:docMk/>
            <pc:sldMk cId="1096136275" sldId="461"/>
            <ac:spMk id="27" creationId="{3CE99531-949D-8C76-F2D2-90D79BEF9B25}"/>
          </ac:spMkLst>
        </pc:spChg>
        <pc:picChg chg="del">
          <ac:chgData name="Solberg, Aleksander - SGDN" userId="8f36fb2a-0381-4954-a34a-830f400e5ab1" providerId="ADAL" clId="{18C792F8-BBC9-4E46-9DB6-66A9E67065EA}" dt="2026-06-03T08:06:29.922" v="3853" actId="478"/>
          <ac:picMkLst>
            <pc:docMk/>
            <pc:sldMk cId="1096136275" sldId="461"/>
            <ac:picMk id="4" creationId="{E918A877-1D87-9AB8-7D15-912BB162B069}"/>
          </ac:picMkLst>
        </pc:picChg>
        <pc:picChg chg="add del mod">
          <ac:chgData name="Solberg, Aleksander - SGDN" userId="8f36fb2a-0381-4954-a34a-830f400e5ab1" providerId="ADAL" clId="{18C792F8-BBC9-4E46-9DB6-66A9E67065EA}" dt="2026-06-03T08:07:39.810" v="3855" actId="478"/>
          <ac:picMkLst>
            <pc:docMk/>
            <pc:sldMk cId="1096136275" sldId="461"/>
            <ac:picMk id="11" creationId="{2E5C7A15-8C41-97BF-F295-DE2FB0AF0009}"/>
          </ac:picMkLst>
        </pc:picChg>
        <pc:picChg chg="add del mod">
          <ac:chgData name="Solberg, Aleksander - SGDN" userId="8f36fb2a-0381-4954-a34a-830f400e5ab1" providerId="ADAL" clId="{18C792F8-BBC9-4E46-9DB6-66A9E67065EA}" dt="2026-06-03T08:08:32.304" v="3857" actId="478"/>
          <ac:picMkLst>
            <pc:docMk/>
            <pc:sldMk cId="1096136275" sldId="461"/>
            <ac:picMk id="16" creationId="{F03A87FB-06FA-BDE2-59D8-5B59382FD889}"/>
          </ac:picMkLst>
        </pc:picChg>
        <pc:picChg chg="add del mod ord">
          <ac:chgData name="Solberg, Aleksander - SGDN" userId="8f36fb2a-0381-4954-a34a-830f400e5ab1" providerId="ADAL" clId="{18C792F8-BBC9-4E46-9DB6-66A9E67065EA}" dt="2026-06-03T08:11:49.080" v="3859" actId="478"/>
          <ac:picMkLst>
            <pc:docMk/>
            <pc:sldMk cId="1096136275" sldId="461"/>
            <ac:picMk id="20" creationId="{A6AAE88F-6D41-F73F-D4D1-8162056C13B7}"/>
          </ac:picMkLst>
        </pc:picChg>
      </pc:sldChg>
      <pc:sldChg chg="addSp delSp modSp add del mod">
        <pc:chgData name="Solberg, Aleksander - SGDN" userId="8f36fb2a-0381-4954-a34a-830f400e5ab1" providerId="ADAL" clId="{18C792F8-BBC9-4E46-9DB6-66A9E67065EA}" dt="2026-06-03T07:35:02.928" v="1874" actId="2696"/>
        <pc:sldMkLst>
          <pc:docMk/>
          <pc:sldMk cId="549717693" sldId="464"/>
        </pc:sldMkLst>
        <pc:spChg chg="mod">
          <ac:chgData name="Solberg, Aleksander - SGDN" userId="8f36fb2a-0381-4954-a34a-830f400e5ab1" providerId="ADAL" clId="{18C792F8-BBC9-4E46-9DB6-66A9E67065EA}" dt="2026-06-03T07:15:23.386" v="296" actId="20577"/>
          <ac:spMkLst>
            <pc:docMk/>
            <pc:sldMk cId="549717693" sldId="464"/>
            <ac:spMk id="2" creationId="{6220D2BD-E797-AC4D-2198-1E28363BE212}"/>
          </ac:spMkLst>
        </pc:spChg>
        <pc:spChg chg="add del mod">
          <ac:chgData name="Solberg, Aleksander - SGDN" userId="8f36fb2a-0381-4954-a34a-830f400e5ab1" providerId="ADAL" clId="{18C792F8-BBC9-4E46-9DB6-66A9E67065EA}" dt="2026-06-03T07:14:48.850" v="285" actId="22"/>
          <ac:spMkLst>
            <pc:docMk/>
            <pc:sldMk cId="549717693" sldId="464"/>
            <ac:spMk id="11" creationId="{BB3F8D4E-1D0B-5500-80D4-04733DEE5295}"/>
          </ac:spMkLst>
        </pc:spChg>
        <pc:spChg chg="mod">
          <ac:chgData name="Solberg, Aleksander - SGDN" userId="8f36fb2a-0381-4954-a34a-830f400e5ab1" providerId="ADAL" clId="{18C792F8-BBC9-4E46-9DB6-66A9E67065EA}" dt="2026-06-03T07:11:10.263" v="253" actId="20577"/>
          <ac:spMkLst>
            <pc:docMk/>
            <pc:sldMk cId="549717693" sldId="464"/>
            <ac:spMk id="44" creationId="{B235E4CB-F129-BF02-9D68-CB63E445E205}"/>
          </ac:spMkLst>
        </pc:spChg>
        <pc:picChg chg="add del">
          <ac:chgData name="Solberg, Aleksander - SGDN" userId="8f36fb2a-0381-4954-a34a-830f400e5ab1" providerId="ADAL" clId="{18C792F8-BBC9-4E46-9DB6-66A9E67065EA}" dt="2026-06-03T07:14:41.499" v="283" actId="22"/>
          <ac:picMkLst>
            <pc:docMk/>
            <pc:sldMk cId="549717693" sldId="464"/>
            <ac:picMk id="9" creationId="{FE296041-8858-05BA-1BC1-87B9EC53965A}"/>
          </ac:picMkLst>
        </pc:picChg>
        <pc:picChg chg="add mod ord">
          <ac:chgData name="Solberg, Aleksander - SGDN" userId="8f36fb2a-0381-4954-a34a-830f400e5ab1" providerId="ADAL" clId="{18C792F8-BBC9-4E46-9DB6-66A9E67065EA}" dt="2026-06-03T07:14:48.850" v="285" actId="22"/>
          <ac:picMkLst>
            <pc:docMk/>
            <pc:sldMk cId="549717693" sldId="464"/>
            <ac:picMk id="13" creationId="{9B4E0DA1-A62C-8453-B48F-9D93199BB771}"/>
          </ac:picMkLst>
        </pc:picChg>
        <pc:picChg chg="del">
          <ac:chgData name="Solberg, Aleksander - SGDN" userId="8f36fb2a-0381-4954-a34a-830f400e5ab1" providerId="ADAL" clId="{18C792F8-BBC9-4E46-9DB6-66A9E67065EA}" dt="2026-06-03T07:14:45.084" v="284" actId="478"/>
          <ac:picMkLst>
            <pc:docMk/>
            <pc:sldMk cId="549717693" sldId="464"/>
            <ac:picMk id="14" creationId="{269BC298-A505-0D54-D6FF-552259A31A2D}"/>
          </ac:picMkLst>
        </pc:picChg>
        <pc:picChg chg="mod">
          <ac:chgData name="Solberg, Aleksander - SGDN" userId="8f36fb2a-0381-4954-a34a-830f400e5ab1" providerId="ADAL" clId="{18C792F8-BBC9-4E46-9DB6-66A9E67065EA}" dt="2026-06-03T07:10:54.667" v="225" actId="1076"/>
          <ac:picMkLst>
            <pc:docMk/>
            <pc:sldMk cId="549717693" sldId="464"/>
            <ac:picMk id="23" creationId="{CFE574D2-A9B5-ECE0-D69E-7E394368A8B2}"/>
          </ac:picMkLst>
        </pc:picChg>
      </pc:sldChg>
      <pc:sldChg chg="modSp add del mod">
        <pc:chgData name="Solberg, Aleksander - SGDN" userId="8f36fb2a-0381-4954-a34a-830f400e5ab1" providerId="ADAL" clId="{18C792F8-BBC9-4E46-9DB6-66A9E67065EA}" dt="2026-06-04T11:54:07.644" v="4655" actId="47"/>
        <pc:sldMkLst>
          <pc:docMk/>
          <pc:sldMk cId="1264388169" sldId="466"/>
        </pc:sldMkLst>
        <pc:spChg chg="mod">
          <ac:chgData name="Solberg, Aleksander - SGDN" userId="8f36fb2a-0381-4954-a34a-830f400e5ab1" providerId="ADAL" clId="{18C792F8-BBC9-4E46-9DB6-66A9E67065EA}" dt="2026-06-03T07:50:02.871" v="2477" actId="20577"/>
          <ac:spMkLst>
            <pc:docMk/>
            <pc:sldMk cId="1264388169" sldId="466"/>
            <ac:spMk id="6" creationId="{8E53A2A3-4A9A-26E7-A6F9-4A7E55332431}"/>
          </ac:spMkLst>
        </pc:spChg>
        <pc:spChg chg="mod">
          <ac:chgData name="Solberg, Aleksander - SGDN" userId="8f36fb2a-0381-4954-a34a-830f400e5ab1" providerId="ADAL" clId="{18C792F8-BBC9-4E46-9DB6-66A9E67065EA}" dt="2026-06-03T07:51:16.639" v="2624" actId="20577"/>
          <ac:spMkLst>
            <pc:docMk/>
            <pc:sldMk cId="1264388169" sldId="466"/>
            <ac:spMk id="9" creationId="{9FA37595-1F8A-471B-30E8-35A5913BFA3B}"/>
          </ac:spMkLst>
        </pc:spChg>
        <pc:spChg chg="mod">
          <ac:chgData name="Solberg, Aleksander - SGDN" userId="8f36fb2a-0381-4954-a34a-830f400e5ab1" providerId="ADAL" clId="{18C792F8-BBC9-4E46-9DB6-66A9E67065EA}" dt="2026-06-04T11:54:03.984" v="4654" actId="20577"/>
          <ac:spMkLst>
            <pc:docMk/>
            <pc:sldMk cId="1264388169" sldId="466"/>
            <ac:spMk id="10" creationId="{44FB53E2-E75F-81E0-247F-9E071D04BA0C}"/>
          </ac:spMkLst>
        </pc:spChg>
        <pc:spChg chg="mod">
          <ac:chgData name="Solberg, Aleksander - SGDN" userId="8f36fb2a-0381-4954-a34a-830f400e5ab1" providerId="ADAL" clId="{18C792F8-BBC9-4E46-9DB6-66A9E67065EA}" dt="2026-06-03T07:37:00.403" v="2068"/>
          <ac:spMkLst>
            <pc:docMk/>
            <pc:sldMk cId="1264388169" sldId="466"/>
            <ac:spMk id="11" creationId="{10BE6EF2-33F0-79E1-F0FD-08553EC0CBC2}"/>
          </ac:spMkLst>
        </pc:spChg>
        <pc:spChg chg="mod">
          <ac:chgData name="Solberg, Aleksander - SGDN" userId="8f36fb2a-0381-4954-a34a-830f400e5ab1" providerId="ADAL" clId="{18C792F8-BBC9-4E46-9DB6-66A9E67065EA}" dt="2026-06-03T07:52:00.991" v="2726" actId="20577"/>
          <ac:spMkLst>
            <pc:docMk/>
            <pc:sldMk cId="1264388169" sldId="466"/>
            <ac:spMk id="12" creationId="{034F08EF-B858-EF1A-008D-3E69CC539E67}"/>
          </ac:spMkLst>
        </pc:spChg>
        <pc:spChg chg="mod">
          <ac:chgData name="Solberg, Aleksander - SGDN" userId="8f36fb2a-0381-4954-a34a-830f400e5ab1" providerId="ADAL" clId="{18C792F8-BBC9-4E46-9DB6-66A9E67065EA}" dt="2026-06-03T07:37:20.315" v="2070"/>
          <ac:spMkLst>
            <pc:docMk/>
            <pc:sldMk cId="1264388169" sldId="466"/>
            <ac:spMk id="14" creationId="{FAEA8721-BC2F-444C-AB5B-6024D3FD303C}"/>
          </ac:spMkLst>
        </pc:spChg>
        <pc:spChg chg="mod">
          <ac:chgData name="Solberg, Aleksander - SGDN" userId="8f36fb2a-0381-4954-a34a-830f400e5ab1" providerId="ADAL" clId="{18C792F8-BBC9-4E46-9DB6-66A9E67065EA}" dt="2026-06-03T07:51:19.455" v="2627" actId="20577"/>
          <ac:spMkLst>
            <pc:docMk/>
            <pc:sldMk cId="1264388169" sldId="466"/>
            <ac:spMk id="183" creationId="{1E7C9BF1-796F-F5E0-E44B-6C7F1546C409}"/>
          </ac:spMkLst>
        </pc:spChg>
        <pc:spChg chg="mod">
          <ac:chgData name="Solberg, Aleksander - SGDN" userId="8f36fb2a-0381-4954-a34a-830f400e5ab1" providerId="ADAL" clId="{18C792F8-BBC9-4E46-9DB6-66A9E67065EA}" dt="2026-06-03T07:47:42.784" v="2378" actId="20577"/>
          <ac:spMkLst>
            <pc:docMk/>
            <pc:sldMk cId="1264388169" sldId="466"/>
            <ac:spMk id="184" creationId="{3991D07B-C7BD-7DD4-DF34-6E24941CD64D}"/>
          </ac:spMkLst>
        </pc:spChg>
        <pc:spChg chg="mod">
          <ac:chgData name="Solberg, Aleksander - SGDN" userId="8f36fb2a-0381-4954-a34a-830f400e5ab1" providerId="ADAL" clId="{18C792F8-BBC9-4E46-9DB6-66A9E67065EA}" dt="2026-06-03T07:37:28.854" v="2072"/>
          <ac:spMkLst>
            <pc:docMk/>
            <pc:sldMk cId="1264388169" sldId="466"/>
            <ac:spMk id="185" creationId="{FB95478D-1935-D8DF-564F-9743E4D57415}"/>
          </ac:spMkLst>
        </pc:spChg>
        <pc:spChg chg="mod">
          <ac:chgData name="Solberg, Aleksander - SGDN" userId="8f36fb2a-0381-4954-a34a-830f400e5ab1" providerId="ADAL" clId="{18C792F8-BBC9-4E46-9DB6-66A9E67065EA}" dt="2026-06-03T07:51:55.087" v="2695" actId="20577"/>
          <ac:spMkLst>
            <pc:docMk/>
            <pc:sldMk cId="1264388169" sldId="466"/>
            <ac:spMk id="186" creationId="{B6A6D3C4-21AC-76C5-48C9-2FC9CAC2093D}"/>
          </ac:spMkLst>
        </pc:spChg>
      </pc:sldChg>
      <pc:sldChg chg="add del">
        <pc:chgData name="Solberg, Aleksander - SGDN" userId="8f36fb2a-0381-4954-a34a-830f400e5ab1" providerId="ADAL" clId="{18C792F8-BBC9-4E46-9DB6-66A9E67065EA}" dt="2026-06-03T07:24:10.847" v="1230" actId="47"/>
        <pc:sldMkLst>
          <pc:docMk/>
          <pc:sldMk cId="3644266714" sldId="468"/>
        </pc:sldMkLst>
      </pc:sldChg>
      <pc:sldChg chg="modSp add mod ord">
        <pc:chgData name="Solberg, Aleksander - SGDN" userId="8f36fb2a-0381-4954-a34a-830f400e5ab1" providerId="ADAL" clId="{18C792F8-BBC9-4E46-9DB6-66A9E67065EA}" dt="2026-06-04T12:26:47.141" v="4872" actId="20577"/>
        <pc:sldMkLst>
          <pc:docMk/>
          <pc:sldMk cId="290777144" sldId="472"/>
        </pc:sldMkLst>
        <pc:spChg chg="mod">
          <ac:chgData name="Solberg, Aleksander - SGDN" userId="8f36fb2a-0381-4954-a34a-830f400e5ab1" providerId="ADAL" clId="{18C792F8-BBC9-4E46-9DB6-66A9E67065EA}" dt="2026-06-04T12:26:47.141" v="4872" actId="20577"/>
          <ac:spMkLst>
            <pc:docMk/>
            <pc:sldMk cId="290777144" sldId="472"/>
            <ac:spMk id="2" creationId="{83EEA259-C8A9-3F08-4CB4-76E79E9493A0}"/>
          </ac:spMkLst>
        </pc:spChg>
        <pc:spChg chg="mod">
          <ac:chgData name="Solberg, Aleksander - SGDN" userId="8f36fb2a-0381-4954-a34a-830f400e5ab1" providerId="ADAL" clId="{18C792F8-BBC9-4E46-9DB6-66A9E67065EA}" dt="2026-06-03T07:15:37.190" v="312" actId="20577"/>
          <ac:spMkLst>
            <pc:docMk/>
            <pc:sldMk cId="290777144" sldId="472"/>
            <ac:spMk id="3" creationId="{2BEAF8DB-1139-9BB6-A4A9-9D46AC2DD493}"/>
          </ac:spMkLst>
        </pc:spChg>
        <pc:spChg chg="mod">
          <ac:chgData name="Solberg, Aleksander - SGDN" userId="8f36fb2a-0381-4954-a34a-830f400e5ab1" providerId="ADAL" clId="{18C792F8-BBC9-4E46-9DB6-66A9E67065EA}" dt="2026-06-03T07:16:18.005" v="469" actId="20577"/>
          <ac:spMkLst>
            <pc:docMk/>
            <pc:sldMk cId="290777144" sldId="472"/>
            <ac:spMk id="13" creationId="{5948FC47-1807-17F9-8F6D-3A4EA4112638}"/>
          </ac:spMkLst>
        </pc:spChg>
        <pc:spChg chg="mod">
          <ac:chgData name="Solberg, Aleksander - SGDN" userId="8f36fb2a-0381-4954-a34a-830f400e5ab1" providerId="ADAL" clId="{18C792F8-BBC9-4E46-9DB6-66A9E67065EA}" dt="2026-06-03T07:18:58.767" v="621" actId="20577"/>
          <ac:spMkLst>
            <pc:docMk/>
            <pc:sldMk cId="290777144" sldId="472"/>
            <ac:spMk id="14" creationId="{5B2A67AE-E190-E0F0-E082-FFD9248824C0}"/>
          </ac:spMkLst>
        </pc:spChg>
        <pc:spChg chg="mod">
          <ac:chgData name="Solberg, Aleksander - SGDN" userId="8f36fb2a-0381-4954-a34a-830f400e5ab1" providerId="ADAL" clId="{18C792F8-BBC9-4E46-9DB6-66A9E67065EA}" dt="2026-06-03T07:19:53.310" v="735" actId="20577"/>
          <ac:spMkLst>
            <pc:docMk/>
            <pc:sldMk cId="290777144" sldId="472"/>
            <ac:spMk id="15" creationId="{E33ED2D1-B7FA-23AF-1893-AEA8EBF972F9}"/>
          </ac:spMkLst>
        </pc:spChg>
        <pc:spChg chg="mod">
          <ac:chgData name="Solberg, Aleksander - SGDN" userId="8f36fb2a-0381-4954-a34a-830f400e5ab1" providerId="ADAL" clId="{18C792F8-BBC9-4E46-9DB6-66A9E67065EA}" dt="2026-06-03T07:20:40.525" v="936" actId="20577"/>
          <ac:spMkLst>
            <pc:docMk/>
            <pc:sldMk cId="290777144" sldId="472"/>
            <ac:spMk id="16" creationId="{85FDDB9E-79D0-E69A-8816-7BB81B4B3C7F}"/>
          </ac:spMkLst>
        </pc:spChg>
        <pc:spChg chg="mod">
          <ac:chgData name="Solberg, Aleksander - SGDN" userId="8f36fb2a-0381-4954-a34a-830f400e5ab1" providerId="ADAL" clId="{18C792F8-BBC9-4E46-9DB6-66A9E67065EA}" dt="2026-06-03T07:19:05.473" v="626" actId="20577"/>
          <ac:spMkLst>
            <pc:docMk/>
            <pc:sldMk cId="290777144" sldId="472"/>
            <ac:spMk id="17" creationId="{E438C989-13C4-6C84-B669-70A6CEF9FEE1}"/>
          </ac:spMkLst>
        </pc:spChg>
        <pc:spChg chg="mod">
          <ac:chgData name="Solberg, Aleksander - SGDN" userId="8f36fb2a-0381-4954-a34a-830f400e5ab1" providerId="ADAL" clId="{18C792F8-BBC9-4E46-9DB6-66A9E67065EA}" dt="2026-06-03T07:19:45.133" v="722" actId="20577"/>
          <ac:spMkLst>
            <pc:docMk/>
            <pc:sldMk cId="290777144" sldId="472"/>
            <ac:spMk id="18" creationId="{F4619C93-2F3F-5C82-B4D4-3555A22C8A14}"/>
          </ac:spMkLst>
        </pc:spChg>
        <pc:spChg chg="mod">
          <ac:chgData name="Solberg, Aleksander - SGDN" userId="8f36fb2a-0381-4954-a34a-830f400e5ab1" providerId="ADAL" clId="{18C792F8-BBC9-4E46-9DB6-66A9E67065EA}" dt="2026-06-03T07:36:34.020" v="2066" actId="20577"/>
          <ac:spMkLst>
            <pc:docMk/>
            <pc:sldMk cId="290777144" sldId="472"/>
            <ac:spMk id="19" creationId="{E1F5A095-553D-E197-1BAE-03CA380E38A0}"/>
          </ac:spMkLst>
        </pc:spChg>
        <pc:spChg chg="mod">
          <ac:chgData name="Solberg, Aleksander - SGDN" userId="8f36fb2a-0381-4954-a34a-830f400e5ab1" providerId="ADAL" clId="{18C792F8-BBC9-4E46-9DB6-66A9E67065EA}" dt="2026-06-03T07:36:33.831" v="2065" actId="20577"/>
          <ac:spMkLst>
            <pc:docMk/>
            <pc:sldMk cId="290777144" sldId="472"/>
            <ac:spMk id="20" creationId="{27258549-FB46-9411-1B66-7641596A4BEF}"/>
          </ac:spMkLst>
        </pc:spChg>
      </pc:sldChg>
      <pc:sldChg chg="add del">
        <pc:chgData name="Solberg, Aleksander - SGDN" userId="8f36fb2a-0381-4954-a34a-830f400e5ab1" providerId="ADAL" clId="{18C792F8-BBC9-4E46-9DB6-66A9E67065EA}" dt="2026-06-03T07:23:19.682" v="1224" actId="47"/>
        <pc:sldMkLst>
          <pc:docMk/>
          <pc:sldMk cId="2184098023" sldId="473"/>
        </pc:sldMkLst>
      </pc:sldChg>
      <pc:sldChg chg="modSp add del">
        <pc:chgData name="Solberg, Aleksander - SGDN" userId="8f36fb2a-0381-4954-a34a-830f400e5ab1" providerId="ADAL" clId="{18C792F8-BBC9-4E46-9DB6-66A9E67065EA}" dt="2026-06-03T07:53:33.677" v="2731" actId="47"/>
        <pc:sldMkLst>
          <pc:docMk/>
          <pc:sldMk cId="991021047" sldId="474"/>
        </pc:sldMkLst>
        <pc:graphicFrameChg chg="mod">
          <ac:chgData name="Solberg, Aleksander - SGDN" userId="8f36fb2a-0381-4954-a34a-830f400e5ab1" providerId="ADAL" clId="{18C792F8-BBC9-4E46-9DB6-66A9E67065EA}" dt="2026-06-03T07:53:30.531" v="2729"/>
          <ac:graphicFrameMkLst>
            <pc:docMk/>
            <pc:sldMk cId="991021047" sldId="474"/>
            <ac:graphicFrameMk id="15" creationId="{6DB1D14C-F563-9081-79D9-6C98AA32CE89}"/>
          </ac:graphicFrameMkLst>
        </pc:graphicFrameChg>
      </pc:sldChg>
      <pc:sldChg chg="add del">
        <pc:chgData name="Solberg, Aleksander - SGDN" userId="8f36fb2a-0381-4954-a34a-830f400e5ab1" providerId="ADAL" clId="{18C792F8-BBC9-4E46-9DB6-66A9E67065EA}" dt="2026-06-03T07:24:36.768" v="1234" actId="47"/>
        <pc:sldMkLst>
          <pc:docMk/>
          <pc:sldMk cId="3344908208" sldId="480"/>
        </pc:sldMkLst>
      </pc:sldChg>
      <pc:sldChg chg="addSp delSp modSp add del mod">
        <pc:chgData name="Solberg, Aleksander - SGDN" userId="8f36fb2a-0381-4954-a34a-830f400e5ab1" providerId="ADAL" clId="{18C792F8-BBC9-4E46-9DB6-66A9E67065EA}" dt="2026-06-03T07:49:15.266" v="2383" actId="47"/>
        <pc:sldMkLst>
          <pc:docMk/>
          <pc:sldMk cId="3620550156" sldId="496"/>
        </pc:sldMkLst>
        <pc:spChg chg="add mod">
          <ac:chgData name="Solberg, Aleksander - SGDN" userId="8f36fb2a-0381-4954-a34a-830f400e5ab1" providerId="ADAL" clId="{18C792F8-BBC9-4E46-9DB6-66A9E67065EA}" dt="2026-06-03T07:48:53.338" v="2381" actId="1076"/>
          <ac:spMkLst>
            <pc:docMk/>
            <pc:sldMk cId="3620550156" sldId="496"/>
            <ac:spMk id="5" creationId="{EAEA81D0-DD2E-F20D-EBE7-AB917E7DF1C6}"/>
          </ac:spMkLst>
        </pc:spChg>
        <pc:spChg chg="mod">
          <ac:chgData name="Solberg, Aleksander - SGDN" userId="8f36fb2a-0381-4954-a34a-830f400e5ab1" providerId="ADAL" clId="{18C792F8-BBC9-4E46-9DB6-66A9E67065EA}" dt="2026-06-03T07:47:20.270" v="2371" actId="20577"/>
          <ac:spMkLst>
            <pc:docMk/>
            <pc:sldMk cId="3620550156" sldId="496"/>
            <ac:spMk id="6" creationId="{F8FA79F6-DADA-DC21-159E-5BA06160C310}"/>
          </ac:spMkLst>
        </pc:spChg>
        <pc:picChg chg="del">
          <ac:chgData name="Solberg, Aleksander - SGDN" userId="8f36fb2a-0381-4954-a34a-830f400e5ab1" providerId="ADAL" clId="{18C792F8-BBC9-4E46-9DB6-66A9E67065EA}" dt="2026-06-03T07:48:46.289" v="2379" actId="478"/>
          <ac:picMkLst>
            <pc:docMk/>
            <pc:sldMk cId="3620550156" sldId="496"/>
            <ac:picMk id="8" creationId="{01E98E6B-31A3-3B6A-638F-01630122F8CA}"/>
          </ac:picMkLst>
        </pc:picChg>
      </pc:sldChg>
      <pc:sldChg chg="add del">
        <pc:chgData name="Solberg, Aleksander - SGDN" userId="8f36fb2a-0381-4954-a34a-830f400e5ab1" providerId="ADAL" clId="{18C792F8-BBC9-4E46-9DB6-66A9E67065EA}" dt="2026-06-03T07:53:45.024" v="2734" actId="47"/>
        <pc:sldMkLst>
          <pc:docMk/>
          <pc:sldMk cId="470862860" sldId="521"/>
        </pc:sldMkLst>
      </pc:sldChg>
      <pc:sldChg chg="modSp add del mod">
        <pc:chgData name="Solberg, Aleksander - SGDN" userId="8f36fb2a-0381-4954-a34a-830f400e5ab1" providerId="ADAL" clId="{18C792F8-BBC9-4E46-9DB6-66A9E67065EA}" dt="2026-06-03T07:47:29.407" v="2373" actId="47"/>
        <pc:sldMkLst>
          <pc:docMk/>
          <pc:sldMk cId="2770865567" sldId="522"/>
        </pc:sldMkLst>
        <pc:spChg chg="mod">
          <ac:chgData name="Solberg, Aleksander - SGDN" userId="8f36fb2a-0381-4954-a34a-830f400e5ab1" providerId="ADAL" clId="{18C792F8-BBC9-4E46-9DB6-66A9E67065EA}" dt="2026-06-03T07:24:50.398" v="1258" actId="20577"/>
          <ac:spMkLst>
            <pc:docMk/>
            <pc:sldMk cId="2770865567" sldId="522"/>
            <ac:spMk id="9" creationId="{9FA37595-1F8A-471B-30E8-35A5913BFA3B}"/>
          </ac:spMkLst>
        </pc:spChg>
        <pc:spChg chg="mod">
          <ac:chgData name="Solberg, Aleksander - SGDN" userId="8f36fb2a-0381-4954-a34a-830f400e5ab1" providerId="ADAL" clId="{18C792F8-BBC9-4E46-9DB6-66A9E67065EA}" dt="2026-06-03T07:27:06.478" v="1618" actId="20577"/>
          <ac:spMkLst>
            <pc:docMk/>
            <pc:sldMk cId="2770865567" sldId="522"/>
            <ac:spMk id="13" creationId="{AEE5BF0B-946C-5F9E-F66B-582C9CE00ECA}"/>
          </ac:spMkLst>
        </pc:spChg>
        <pc:spChg chg="mod">
          <ac:chgData name="Solberg, Aleksander - SGDN" userId="8f36fb2a-0381-4954-a34a-830f400e5ab1" providerId="ADAL" clId="{18C792F8-BBC9-4E46-9DB6-66A9E67065EA}" dt="2026-06-03T07:27:19.310" v="1650" actId="20577"/>
          <ac:spMkLst>
            <pc:docMk/>
            <pc:sldMk cId="2770865567" sldId="522"/>
            <ac:spMk id="15" creationId="{02791298-8F1C-0F9A-C608-A77DD917E0E2}"/>
          </ac:spMkLst>
        </pc:spChg>
        <pc:spChg chg="mod">
          <ac:chgData name="Solberg, Aleksander - SGDN" userId="8f36fb2a-0381-4954-a34a-830f400e5ab1" providerId="ADAL" clId="{18C792F8-BBC9-4E46-9DB6-66A9E67065EA}" dt="2026-06-03T07:34:07.070" v="1796" actId="20577"/>
          <ac:spMkLst>
            <pc:docMk/>
            <pc:sldMk cId="2770865567" sldId="522"/>
            <ac:spMk id="16" creationId="{0568F44D-7474-9983-280E-D279D975BF47}"/>
          </ac:spMkLst>
        </pc:spChg>
        <pc:spChg chg="mod">
          <ac:chgData name="Solberg, Aleksander - SGDN" userId="8f36fb2a-0381-4954-a34a-830f400e5ab1" providerId="ADAL" clId="{18C792F8-BBC9-4E46-9DB6-66A9E67065EA}" dt="2026-06-03T07:34:47.455" v="1873" actId="20577"/>
          <ac:spMkLst>
            <pc:docMk/>
            <pc:sldMk cId="2770865567" sldId="522"/>
            <ac:spMk id="18" creationId="{20138521-8019-F4C5-2404-4647D35390FE}"/>
          </ac:spMkLst>
        </pc:spChg>
        <pc:spChg chg="mod">
          <ac:chgData name="Solberg, Aleksander - SGDN" userId="8f36fb2a-0381-4954-a34a-830f400e5ab1" providerId="ADAL" clId="{18C792F8-BBC9-4E46-9DB6-66A9E67065EA}" dt="2026-06-03T07:24:53.054" v="1261" actId="20577"/>
          <ac:spMkLst>
            <pc:docMk/>
            <pc:sldMk cId="2770865567" sldId="522"/>
            <ac:spMk id="183" creationId="{1E7C9BF1-796F-F5E0-E44B-6C7F1546C409}"/>
          </ac:spMkLst>
        </pc:spChg>
        <pc:spChg chg="mod">
          <ac:chgData name="Solberg, Aleksander - SGDN" userId="8f36fb2a-0381-4954-a34a-830f400e5ab1" providerId="ADAL" clId="{18C792F8-BBC9-4E46-9DB6-66A9E67065EA}" dt="2026-06-03T07:26:07.742" v="1529" actId="20577"/>
          <ac:spMkLst>
            <pc:docMk/>
            <pc:sldMk cId="2770865567" sldId="522"/>
            <ac:spMk id="184" creationId="{3991D07B-C7BD-7DD4-DF34-6E24941CD64D}"/>
          </ac:spMkLst>
        </pc:spChg>
        <pc:spChg chg="mod">
          <ac:chgData name="Solberg, Aleksander - SGDN" userId="8f36fb2a-0381-4954-a34a-830f400e5ab1" providerId="ADAL" clId="{18C792F8-BBC9-4E46-9DB6-66A9E67065EA}" dt="2026-06-03T07:28:26.925" v="1655" actId="20577"/>
          <ac:spMkLst>
            <pc:docMk/>
            <pc:sldMk cId="2770865567" sldId="522"/>
            <ac:spMk id="185" creationId="{FB95478D-1935-D8DF-564F-9743E4D57415}"/>
          </ac:spMkLst>
        </pc:spChg>
        <pc:spChg chg="mod">
          <ac:chgData name="Solberg, Aleksander - SGDN" userId="8f36fb2a-0381-4954-a34a-830f400e5ab1" providerId="ADAL" clId="{18C792F8-BBC9-4E46-9DB6-66A9E67065EA}" dt="2026-06-03T07:30:00.382" v="1670" actId="20577"/>
          <ac:spMkLst>
            <pc:docMk/>
            <pc:sldMk cId="2770865567" sldId="522"/>
            <ac:spMk id="186" creationId="{B6A6D3C4-21AC-76C5-48C9-2FC9CAC2093D}"/>
          </ac:spMkLst>
        </pc:spChg>
      </pc:sldChg>
      <pc:sldChg chg="modSp add del">
        <pc:chgData name="Solberg, Aleksander - SGDN" userId="8f36fb2a-0381-4954-a34a-830f400e5ab1" providerId="ADAL" clId="{18C792F8-BBC9-4E46-9DB6-66A9E67065EA}" dt="2026-06-03T07:53:32.932" v="2730" actId="47"/>
        <pc:sldMkLst>
          <pc:docMk/>
          <pc:sldMk cId="1493939988" sldId="530"/>
        </pc:sldMkLst>
        <pc:graphicFrameChg chg="mod">
          <ac:chgData name="Solberg, Aleksander - SGDN" userId="8f36fb2a-0381-4954-a34a-830f400e5ab1" providerId="ADAL" clId="{18C792F8-BBC9-4E46-9DB6-66A9E67065EA}" dt="2026-06-03T07:53:28.208" v="2728"/>
          <ac:graphicFrameMkLst>
            <pc:docMk/>
            <pc:sldMk cId="1493939988" sldId="530"/>
            <ac:graphicFrameMk id="15" creationId="{6DB1D14C-F563-9081-79D9-6C98AA32CE89}"/>
          </ac:graphicFrameMkLst>
        </pc:graphicFrameChg>
      </pc:sldChg>
      <pc:sldChg chg="add del">
        <pc:chgData name="Solberg, Aleksander - SGDN" userId="8f36fb2a-0381-4954-a34a-830f400e5ab1" providerId="ADAL" clId="{18C792F8-BBC9-4E46-9DB6-66A9E67065EA}" dt="2026-06-03T07:24:40.241" v="1236" actId="47"/>
        <pc:sldMkLst>
          <pc:docMk/>
          <pc:sldMk cId="2882599568" sldId="538"/>
        </pc:sldMkLst>
      </pc:sldChg>
      <pc:sldChg chg="add del">
        <pc:chgData name="Solberg, Aleksander - SGDN" userId="8f36fb2a-0381-4954-a34a-830f400e5ab1" providerId="ADAL" clId="{18C792F8-BBC9-4E46-9DB6-66A9E67065EA}" dt="2026-06-03T07:47:10.267" v="2331" actId="47"/>
        <pc:sldMkLst>
          <pc:docMk/>
          <pc:sldMk cId="2406471862" sldId="553"/>
        </pc:sldMkLst>
      </pc:sldChg>
      <pc:sldChg chg="addSp delSp modSp add mod">
        <pc:chgData name="Solberg, Aleksander - SGDN" userId="8f36fb2a-0381-4954-a34a-830f400e5ab1" providerId="ADAL" clId="{18C792F8-BBC9-4E46-9DB6-66A9E67065EA}" dt="2026-06-04T12:26:17.507" v="4850" actId="20577"/>
        <pc:sldMkLst>
          <pc:docMk/>
          <pc:sldMk cId="1523969497" sldId="556"/>
        </pc:sldMkLst>
        <pc:spChg chg="del">
          <ac:chgData name="Solberg, Aleksander - SGDN" userId="8f36fb2a-0381-4954-a34a-830f400e5ab1" providerId="ADAL" clId="{18C792F8-BBC9-4E46-9DB6-66A9E67065EA}" dt="2026-06-03T07:49:31.970" v="2425" actId="478"/>
          <ac:spMkLst>
            <pc:docMk/>
            <pc:sldMk cId="1523969497" sldId="556"/>
            <ac:spMk id="2" creationId="{1415DFCE-AE85-7A50-B265-A767DEDE5497}"/>
          </ac:spMkLst>
        </pc:spChg>
        <pc:spChg chg="mod">
          <ac:chgData name="Solberg, Aleksander - SGDN" userId="8f36fb2a-0381-4954-a34a-830f400e5ab1" providerId="ADAL" clId="{18C792F8-BBC9-4E46-9DB6-66A9E67065EA}" dt="2026-06-04T12:26:17.507" v="4850" actId="20577"/>
          <ac:spMkLst>
            <pc:docMk/>
            <pc:sldMk cId="1523969497" sldId="556"/>
            <ac:spMk id="3" creationId="{43DC3189-C8B8-DA3A-5E04-C0E5A2954C4C}"/>
          </ac:spMkLst>
        </pc:spChg>
        <pc:spChg chg="add mod">
          <ac:chgData name="Solberg, Aleksander - SGDN" userId="8f36fb2a-0381-4954-a34a-830f400e5ab1" providerId="ADAL" clId="{18C792F8-BBC9-4E46-9DB6-66A9E67065EA}" dt="2026-06-03T07:49:31.970" v="2425" actId="478"/>
          <ac:spMkLst>
            <pc:docMk/>
            <pc:sldMk cId="1523969497" sldId="556"/>
            <ac:spMk id="8" creationId="{0045243D-A1F9-8644-7FC5-E20A11E3F20A}"/>
          </ac:spMkLst>
        </pc:spChg>
      </pc:sldChg>
      <pc:sldChg chg="add del">
        <pc:chgData name="Solberg, Aleksander - SGDN" userId="8f36fb2a-0381-4954-a34a-830f400e5ab1" providerId="ADAL" clId="{18C792F8-BBC9-4E46-9DB6-66A9E67065EA}" dt="2026-06-03T07:47:26.167" v="2372" actId="47"/>
        <pc:sldMkLst>
          <pc:docMk/>
          <pc:sldMk cId="2894914218" sldId="616"/>
        </pc:sldMkLst>
      </pc:sldChg>
      <pc:sldChg chg="add del">
        <pc:chgData name="Solberg, Aleksander - SGDN" userId="8f36fb2a-0381-4954-a34a-830f400e5ab1" providerId="ADAL" clId="{18C792F8-BBC9-4E46-9DB6-66A9E67065EA}" dt="2026-06-03T07:24:41.609" v="1237" actId="47"/>
        <pc:sldMkLst>
          <pc:docMk/>
          <pc:sldMk cId="2938804871" sldId="618"/>
        </pc:sldMkLst>
      </pc:sldChg>
      <pc:sldChg chg="add del">
        <pc:chgData name="Solberg, Aleksander - SGDN" userId="8f36fb2a-0381-4954-a34a-830f400e5ab1" providerId="ADAL" clId="{18C792F8-BBC9-4E46-9DB6-66A9E67065EA}" dt="2026-06-03T07:24:38.736" v="1235" actId="47"/>
        <pc:sldMkLst>
          <pc:docMk/>
          <pc:sldMk cId="1760303194" sldId="619"/>
        </pc:sldMkLst>
      </pc:sldChg>
      <pc:sldMasterChg chg="delSldLayout">
        <pc:chgData name="Solberg, Aleksander - SGDN" userId="8f36fb2a-0381-4954-a34a-830f400e5ab1" providerId="ADAL" clId="{18C792F8-BBC9-4E46-9DB6-66A9E67065EA}" dt="2026-06-04T11:54:07.644" v="4655" actId="47"/>
        <pc:sldMasterMkLst>
          <pc:docMk/>
          <pc:sldMasterMk cId="1986184896" sldId="2147483648"/>
        </pc:sldMasterMkLst>
        <pc:sldLayoutChg chg="del">
          <pc:chgData name="Solberg, Aleksander - SGDN" userId="8f36fb2a-0381-4954-a34a-830f400e5ab1" providerId="ADAL" clId="{18C792F8-BBC9-4E46-9DB6-66A9E67065EA}" dt="2026-06-03T07:24:41.609" v="1237" actId="47"/>
          <pc:sldLayoutMkLst>
            <pc:docMk/>
            <pc:sldMasterMk cId="1986184896" sldId="2147483648"/>
            <pc:sldLayoutMk cId="1912828455" sldId="2147483673"/>
          </pc:sldLayoutMkLst>
        </pc:sldLayoutChg>
        <pc:sldLayoutChg chg="del">
          <pc:chgData name="Solberg, Aleksander - SGDN" userId="8f36fb2a-0381-4954-a34a-830f400e5ab1" providerId="ADAL" clId="{18C792F8-BBC9-4E46-9DB6-66A9E67065EA}" dt="2026-06-03T07:35:02.928" v="1874" actId="2696"/>
          <pc:sldLayoutMkLst>
            <pc:docMk/>
            <pc:sldMasterMk cId="1986184896" sldId="2147483648"/>
            <pc:sldLayoutMk cId="3134266605" sldId="2147483674"/>
          </pc:sldLayoutMkLst>
        </pc:sldLayoutChg>
        <pc:sldLayoutChg chg="del">
          <pc:chgData name="Solberg, Aleksander - SGDN" userId="8f36fb2a-0381-4954-a34a-830f400e5ab1" providerId="ADAL" clId="{18C792F8-BBC9-4E46-9DB6-66A9E67065EA}" dt="2026-06-03T07:24:10.847" v="1230" actId="47"/>
          <pc:sldLayoutMkLst>
            <pc:docMk/>
            <pc:sldMasterMk cId="1986184896" sldId="2147483648"/>
            <pc:sldLayoutMk cId="2916568718" sldId="2147483675"/>
          </pc:sldLayoutMkLst>
        </pc:sldLayoutChg>
        <pc:sldLayoutChg chg="del">
          <pc:chgData name="Solberg, Aleksander - SGDN" userId="8f36fb2a-0381-4954-a34a-830f400e5ab1" providerId="ADAL" clId="{18C792F8-BBC9-4E46-9DB6-66A9E67065EA}" dt="2026-06-03T07:23:52.008" v="1226" actId="47"/>
          <pc:sldLayoutMkLst>
            <pc:docMk/>
            <pc:sldMasterMk cId="1986184896" sldId="2147483648"/>
            <pc:sldLayoutMk cId="450081671" sldId="2147483677"/>
          </pc:sldLayoutMkLst>
        </pc:sldLayoutChg>
        <pc:sldLayoutChg chg="del">
          <pc:chgData name="Solberg, Aleksander - SGDN" userId="8f36fb2a-0381-4954-a34a-830f400e5ab1" providerId="ADAL" clId="{18C792F8-BBC9-4E46-9DB6-66A9E67065EA}" dt="2026-06-03T07:24:09.863" v="1229" actId="47"/>
          <pc:sldLayoutMkLst>
            <pc:docMk/>
            <pc:sldMasterMk cId="1986184896" sldId="2147483648"/>
            <pc:sldLayoutMk cId="3719945697" sldId="2147483677"/>
          </pc:sldLayoutMkLst>
        </pc:sldLayoutChg>
        <pc:sldLayoutChg chg="del">
          <pc:chgData name="Solberg, Aleksander - SGDN" userId="8f36fb2a-0381-4954-a34a-830f400e5ab1" providerId="ADAL" clId="{18C792F8-BBC9-4E46-9DB6-66A9E67065EA}" dt="2026-06-03T07:23:19.682" v="1224" actId="47"/>
          <pc:sldLayoutMkLst>
            <pc:docMk/>
            <pc:sldMasterMk cId="1986184896" sldId="2147483648"/>
            <pc:sldLayoutMk cId="4125491822" sldId="2147483677"/>
          </pc:sldLayoutMkLst>
        </pc:sldLayoutChg>
        <pc:sldLayoutChg chg="del">
          <pc:chgData name="Solberg, Aleksander - SGDN" userId="8f36fb2a-0381-4954-a34a-830f400e5ab1" providerId="ADAL" clId="{18C792F8-BBC9-4E46-9DB6-66A9E67065EA}" dt="2026-06-03T07:24:36.768" v="1234" actId="47"/>
          <pc:sldLayoutMkLst>
            <pc:docMk/>
            <pc:sldMasterMk cId="1986184896" sldId="2147483648"/>
            <pc:sldLayoutMk cId="527507871" sldId="2147483678"/>
          </pc:sldLayoutMkLst>
        </pc:sldLayoutChg>
        <pc:sldLayoutChg chg="del">
          <pc:chgData name="Solberg, Aleksander - SGDN" userId="8f36fb2a-0381-4954-a34a-830f400e5ab1" providerId="ADAL" clId="{18C792F8-BBC9-4E46-9DB6-66A9E67065EA}" dt="2026-06-03T07:24:40.241" v="1236" actId="47"/>
          <pc:sldLayoutMkLst>
            <pc:docMk/>
            <pc:sldMasterMk cId="1986184896" sldId="2147483648"/>
            <pc:sldLayoutMk cId="2927887926" sldId="2147483679"/>
          </pc:sldLayoutMkLst>
        </pc:sldLayoutChg>
        <pc:sldLayoutChg chg="del">
          <pc:chgData name="Solberg, Aleksander - SGDN" userId="8f36fb2a-0381-4954-a34a-830f400e5ab1" providerId="ADAL" clId="{18C792F8-BBC9-4E46-9DB6-66A9E67065EA}" dt="2026-06-03T07:47:29.407" v="2373" actId="47"/>
          <pc:sldLayoutMkLst>
            <pc:docMk/>
            <pc:sldMasterMk cId="1986184896" sldId="2147483648"/>
            <pc:sldLayoutMk cId="2370337706" sldId="2147483680"/>
          </pc:sldLayoutMkLst>
        </pc:sldLayoutChg>
        <pc:sldLayoutChg chg="del">
          <pc:chgData name="Solberg, Aleksander - SGDN" userId="8f36fb2a-0381-4954-a34a-830f400e5ab1" providerId="ADAL" clId="{18C792F8-BBC9-4E46-9DB6-66A9E67065EA}" dt="2026-06-04T11:54:07.644" v="4655" actId="47"/>
          <pc:sldLayoutMkLst>
            <pc:docMk/>
            <pc:sldMasterMk cId="1986184896" sldId="2147483648"/>
            <pc:sldLayoutMk cId="3961548832" sldId="2147483681"/>
          </pc:sldLayoutMkLst>
        </pc:sldLayoutChg>
        <pc:sldLayoutChg chg="del">
          <pc:chgData name="Solberg, Aleksander - SGDN" userId="8f36fb2a-0381-4954-a34a-830f400e5ab1" providerId="ADAL" clId="{18C792F8-BBC9-4E46-9DB6-66A9E67065EA}" dt="2026-06-03T07:47:26.167" v="2372" actId="47"/>
          <pc:sldLayoutMkLst>
            <pc:docMk/>
            <pc:sldMasterMk cId="1986184896" sldId="2147483648"/>
            <pc:sldLayoutMk cId="3391902900" sldId="2147483682"/>
          </pc:sldLayoutMkLst>
        </pc:sldLayoutChg>
        <pc:sldLayoutChg chg="del">
          <pc:chgData name="Solberg, Aleksander - SGDN" userId="8f36fb2a-0381-4954-a34a-830f400e5ab1" providerId="ADAL" clId="{18C792F8-BBC9-4E46-9DB6-66A9E67065EA}" dt="2026-06-03T07:47:10.267" v="2331" actId="47"/>
          <pc:sldLayoutMkLst>
            <pc:docMk/>
            <pc:sldMasterMk cId="1986184896" sldId="2147483648"/>
            <pc:sldLayoutMk cId="3371428672" sldId="2147483683"/>
          </pc:sldLayoutMkLst>
        </pc:sldLayoutChg>
        <pc:sldLayoutChg chg="del">
          <pc:chgData name="Solberg, Aleksander - SGDN" userId="8f36fb2a-0381-4954-a34a-830f400e5ab1" providerId="ADAL" clId="{18C792F8-BBC9-4E46-9DB6-66A9E67065EA}" dt="2026-06-03T07:49:15.266" v="2383" actId="47"/>
          <pc:sldLayoutMkLst>
            <pc:docMk/>
            <pc:sldMasterMk cId="1986184896" sldId="2147483648"/>
            <pc:sldLayoutMk cId="4016943163" sldId="2147483684"/>
          </pc:sldLayoutMkLst>
        </pc:sldLayoutChg>
        <pc:sldLayoutChg chg="del">
          <pc:chgData name="Solberg, Aleksander - SGDN" userId="8f36fb2a-0381-4954-a34a-830f400e5ab1" providerId="ADAL" clId="{18C792F8-BBC9-4E46-9DB6-66A9E67065EA}" dt="2026-06-03T07:53:34.482" v="2732" actId="47"/>
          <pc:sldLayoutMkLst>
            <pc:docMk/>
            <pc:sldMasterMk cId="1986184896" sldId="2147483648"/>
            <pc:sldLayoutMk cId="973927801" sldId="2147483686"/>
          </pc:sldLayoutMkLst>
        </pc:sldLayoutChg>
        <pc:sldLayoutChg chg="del">
          <pc:chgData name="Solberg, Aleksander - SGDN" userId="8f36fb2a-0381-4954-a34a-830f400e5ab1" providerId="ADAL" clId="{18C792F8-BBC9-4E46-9DB6-66A9E67065EA}" dt="2026-06-03T07:53:53.026" v="2737" actId="47"/>
          <pc:sldLayoutMkLst>
            <pc:docMk/>
            <pc:sldMasterMk cId="1986184896" sldId="2147483648"/>
            <pc:sldLayoutMk cId="3945877123" sldId="2147483686"/>
          </pc:sldLayoutMkLst>
        </pc:sldLayoutChg>
        <pc:sldLayoutChg chg="del">
          <pc:chgData name="Solberg, Aleksander - SGDN" userId="8f36fb2a-0381-4954-a34a-830f400e5ab1" providerId="ADAL" clId="{18C792F8-BBC9-4E46-9DB6-66A9E67065EA}" dt="2026-06-03T07:55:59.686" v="3054" actId="47"/>
          <pc:sldLayoutMkLst>
            <pc:docMk/>
            <pc:sldMasterMk cId="1986184896" sldId="2147483648"/>
            <pc:sldLayoutMk cId="1992345581" sldId="2147483687"/>
          </pc:sldLayoutMkLst>
        </pc:sldLayoutChg>
        <pc:sldLayoutChg chg="del">
          <pc:chgData name="Solberg, Aleksander - SGDN" userId="8f36fb2a-0381-4954-a34a-830f400e5ab1" providerId="ADAL" clId="{18C792F8-BBC9-4E46-9DB6-66A9E67065EA}" dt="2026-06-03T07:53:32.932" v="2730" actId="47"/>
          <pc:sldLayoutMkLst>
            <pc:docMk/>
            <pc:sldMasterMk cId="1986184896" sldId="2147483648"/>
            <pc:sldLayoutMk cId="2099571725" sldId="2147483687"/>
          </pc:sldLayoutMkLst>
        </pc:sldLayoutChg>
        <pc:sldLayoutChg chg="del">
          <pc:chgData name="Solberg, Aleksander - SGDN" userId="8f36fb2a-0381-4954-a34a-830f400e5ab1" providerId="ADAL" clId="{18C792F8-BBC9-4E46-9DB6-66A9E67065EA}" dt="2026-06-03T07:53:33.677" v="2731" actId="47"/>
          <pc:sldLayoutMkLst>
            <pc:docMk/>
            <pc:sldMasterMk cId="1986184896" sldId="2147483648"/>
            <pc:sldLayoutMk cId="1381308232" sldId="2147483688"/>
          </pc:sldLayoutMkLst>
        </pc:sldLayoutChg>
        <pc:sldLayoutChg chg="del">
          <pc:chgData name="Solberg, Aleksander - SGDN" userId="8f36fb2a-0381-4954-a34a-830f400e5ab1" providerId="ADAL" clId="{18C792F8-BBC9-4E46-9DB6-66A9E67065EA}" dt="2026-06-03T07:56:00.769" v="3055" actId="47"/>
          <pc:sldLayoutMkLst>
            <pc:docMk/>
            <pc:sldMasterMk cId="1986184896" sldId="2147483648"/>
            <pc:sldLayoutMk cId="2148640362" sldId="2147483688"/>
          </pc:sldLayoutMkLst>
        </pc:sldLayoutChg>
      </pc:sldMaster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7FF1500-0A17-41B1-99C8-1BB124A5740D}" type="datetimeFigureOut">
              <a:rPr lang="nb-NO" smtClean="0"/>
              <a:t>03.06.2026</a:t>
            </a:fld>
            <a:endParaRPr lang="nb-NO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nb-NO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2F278DE-7C98-42E7-987B-C8E69AF55FAF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12601153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2BE26D4-ABF5-4346-A74D-1B8BD100F20D}" type="slidenum">
              <a:rPr lang="en-GB" smtClean="0"/>
              <a:pPr/>
              <a:t>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2649316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2BE26D4-ABF5-4346-A74D-1B8BD100F20D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047485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2BE26D4-ABF5-4346-A74D-1B8BD100F20D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1163144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Relationship Id="rId6" Type="http://schemas.openxmlformats.org/officeDocument/2006/relationships/image" Target="../media/image3.sv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.bin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6" Type="http://schemas.openxmlformats.org/officeDocument/2006/relationships/image" Target="../media/image6.svg"/><Relationship Id="rId5" Type="http://schemas.openxmlformats.org/officeDocument/2006/relationships/image" Target="../media/image11.emf"/><Relationship Id="rId4" Type="http://schemas.openxmlformats.org/officeDocument/2006/relationships/oleObject" Target="../embeddings/oleObject2.bin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svg"/><Relationship Id="rId3" Type="http://schemas.openxmlformats.org/officeDocument/2006/relationships/image" Target="../media/image12.png"/><Relationship Id="rId7" Type="http://schemas.openxmlformats.org/officeDocument/2006/relationships/image" Target="../media/image14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6" Type="http://schemas.openxmlformats.org/officeDocument/2006/relationships/image" Target="../media/image11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13.sv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6" Type="http://schemas.openxmlformats.org/officeDocument/2006/relationships/image" Target="../media/image6.svg"/><Relationship Id="rId5" Type="http://schemas.openxmlformats.org/officeDocument/2006/relationships/image" Target="../media/image11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6" Type="http://schemas.openxmlformats.org/officeDocument/2006/relationships/image" Target="../media/image3.sv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7" Type="http://schemas.openxmlformats.org/officeDocument/2006/relationships/image" Target="../media/image6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.bin"/><Relationship Id="rId4" Type="http://schemas.openxmlformats.org/officeDocument/2006/relationships/image" Target="../media/image5.sv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7" Type="http://schemas.openxmlformats.org/officeDocument/2006/relationships/image" Target="../media/image6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.bin"/><Relationship Id="rId4" Type="http://schemas.openxmlformats.org/officeDocument/2006/relationships/image" Target="../media/image7.sv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7" Type="http://schemas.openxmlformats.org/officeDocument/2006/relationships/image" Target="../media/image6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.bin"/><Relationship Id="rId4" Type="http://schemas.openxmlformats.org/officeDocument/2006/relationships/image" Target="../media/image8.sv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6" Type="http://schemas.openxmlformats.org/officeDocument/2006/relationships/image" Target="../media/image6.sv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6" Type="http://schemas.openxmlformats.org/officeDocument/2006/relationships/image" Target="../media/image6.sv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7" Type="http://schemas.openxmlformats.org/officeDocument/2006/relationships/image" Target="../media/image6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.bin"/><Relationship Id="rId4" Type="http://schemas.openxmlformats.org/officeDocument/2006/relationships/image" Target="../media/image8.sv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.bin"/><Relationship Id="rId4" Type="http://schemas.openxmlformats.org/officeDocument/2006/relationships/image" Target="../media/image3.sv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V1.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 1">
            <a:extLst>
              <a:ext uri="{FF2B5EF4-FFF2-40B4-BE49-F238E27FC236}">
                <a16:creationId xmlns:a16="http://schemas.microsoft.com/office/drawing/2014/main" id="{6777A04B-FC2F-CC7C-A59E-630C07FC7B08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1388"/>
            <a:ext cx="12192000" cy="6858000"/>
          </a:xfrm>
          <a:prstGeom prst="rect">
            <a:avLst/>
          </a:prstGeom>
        </p:spPr>
      </p:pic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DB77B165-C494-5E5A-DEC0-E1502E5D051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48377012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1" imgH="351" progId="TCLayout.ActiveDocument.1">
                  <p:embed/>
                </p:oleObj>
              </mc:Choice>
              <mc:Fallback>
                <p:oleObj name="think-cell Slide" r:id="rId4" imgW="351" imgH="351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B77B165-C494-5E5A-DEC0-E1502E5D051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think-cell data - do not delete" hidden="1">
            <a:extLst>
              <a:ext uri="{FF2B5EF4-FFF2-40B4-BE49-F238E27FC236}">
                <a16:creationId xmlns:a16="http://schemas.microsoft.com/office/drawing/2014/main" id="{E97BA594-E7A0-54C4-5700-455C29B7B806}"/>
              </a:ext>
            </a:extLst>
          </p:cNvPr>
          <p:cNvPicPr/>
          <p:nvPr/>
        </p:nvPicPr>
        <p:blipFill>
          <a:blip r:embed="rId5"/>
          <a:stretch>
            <a:fillRect/>
          </a:stretch>
        </p:blipFill>
        <p:spPr>
          <a:xfrm>
            <a:off x="2118" y="2118"/>
            <a:ext cx="2117" cy="2117"/>
          </a:xfrm>
          <a:prstGeom prst="rect">
            <a:avLst/>
          </a:prstGeom>
        </p:spPr>
      </p:pic>
      <p:pic>
        <p:nvPicPr>
          <p:cNvPr id="3" name="Graphic 2">
            <a:extLst>
              <a:ext uri="{FF2B5EF4-FFF2-40B4-BE49-F238E27FC236}">
                <a16:creationId xmlns:a16="http://schemas.microsoft.com/office/drawing/2014/main" id="{EBB72C20-4E12-E7E1-EB67-FB9B3CE3BE8B}"/>
              </a:ext>
            </a:extLst>
          </p:cNvPr>
          <p:cNvPicPr>
            <a:picLocks noChangeAspect="1"/>
          </p:cNvPicPr>
          <p:nvPr userDrawn="1"/>
        </p:nvPicPr>
        <p:blipFill>
          <a:blip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165937" y="5823526"/>
            <a:ext cx="1523224" cy="635909"/>
          </a:xfrm>
          <a:prstGeom prst="rect">
            <a:avLst/>
          </a:prstGeom>
        </p:spPr>
      </p:pic>
      <p:sp>
        <p:nvSpPr>
          <p:cNvPr id="9" name="Title 3">
            <a:extLst>
              <a:ext uri="{FF2B5EF4-FFF2-40B4-BE49-F238E27FC236}">
                <a16:creationId xmlns:a16="http://schemas.microsoft.com/office/drawing/2014/main" id="{2B1A1D64-47A2-FB73-9E0F-3F0767E26E4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502156" y="2724575"/>
            <a:ext cx="9187688" cy="1625060"/>
          </a:xfrm>
          <a:prstGeom prst="rect">
            <a:avLst/>
          </a:prstGeom>
        </p:spPr>
        <p:txBody>
          <a:bodyPr vert="horz" lIns="0" tIns="0" rIns="0" bIns="0" anchor="t">
            <a:noAutofit/>
          </a:bodyPr>
          <a:lstStyle>
            <a:lvl1pPr rtl="0">
              <a:defRPr sz="5333" b="1" cap="all" baseline="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This is the NAME </a:t>
            </a:r>
            <a:br>
              <a:rPr lang="en-GB" dirty="0"/>
            </a:br>
            <a:r>
              <a:rPr lang="en-GB" dirty="0"/>
              <a:t>of the presentation</a:t>
            </a:r>
            <a:endParaRPr lang="en-GB" noProof="0" dirty="0"/>
          </a:p>
        </p:txBody>
      </p:sp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FC3E299A-CA1F-C63A-67BB-A6D69844B9F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502155" y="2283989"/>
            <a:ext cx="9075500" cy="430887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buNone/>
              <a:defRPr sz="2133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date</a:t>
            </a:r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CFB1F5FA-82E7-3471-4384-BB447F6A5A7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502155" y="4188766"/>
            <a:ext cx="9075500" cy="430887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buNone/>
              <a:defRPr sz="2667">
                <a:solidFill>
                  <a:schemeClr val="bg1"/>
                </a:solidFill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This is the subtitle of the presentation</a:t>
            </a:r>
          </a:p>
        </p:txBody>
      </p:sp>
    </p:spTree>
    <p:extLst>
      <p:ext uri="{BB962C8B-B14F-4D97-AF65-F5344CB8AC3E}">
        <p14:creationId xmlns:p14="http://schemas.microsoft.com/office/powerpoint/2010/main" val="163499455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19220D5F-7923-352C-BE4A-32E5F8356D1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  <a:prstGeom prst="rect">
            <a:avLst/>
          </a:prstGeo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fr-FR"/>
          </a:p>
        </p:txBody>
      </p:sp>
      <p:sp>
        <p:nvSpPr>
          <p:cNvPr id="3" name="Sous-titre 2">
            <a:extLst>
              <a:ext uri="{FF2B5EF4-FFF2-40B4-BE49-F238E27FC236}">
                <a16:creationId xmlns:a16="http://schemas.microsoft.com/office/drawing/2014/main" id="{8126095A-3888-E7CB-CB2D-6ECAD0FA323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fr-FR"/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F738088F-D6E6-458E-E74A-A14814B1FC1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BB48FE57-EDB2-413F-A665-DC8613FC92C4}" type="datetimeFigureOut">
              <a:rPr lang="fr-FR" smtClean="0"/>
              <a:t>03/06/2026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F468D3DF-89EF-02DA-0DE6-4E6FAE861F8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716FF993-41BD-3879-410D-8F6E65563F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B51E2E53-CD8A-4E3C-9C3A-6004DF261B3E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27481430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V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3" name="Freeform: Shape 112">
            <a:extLst>
              <a:ext uri="{FF2B5EF4-FFF2-40B4-BE49-F238E27FC236}">
                <a16:creationId xmlns:a16="http://schemas.microsoft.com/office/drawing/2014/main" id="{1B8AE20B-1F36-28CE-1FC8-F9C7100A53A5}"/>
              </a:ext>
            </a:extLst>
          </p:cNvPr>
          <p:cNvSpPr/>
          <p:nvPr userDrawn="1"/>
        </p:nvSpPr>
        <p:spPr>
          <a:xfrm>
            <a:off x="1" y="2132157"/>
            <a:ext cx="12192001" cy="4725843"/>
          </a:xfrm>
          <a:custGeom>
            <a:avLst/>
            <a:gdLst>
              <a:gd name="connsiteX0" fmla="*/ 9144001 w 9144001"/>
              <a:gd name="connsiteY0" fmla="*/ 0 h 3544382"/>
              <a:gd name="connsiteX1" fmla="*/ 9144001 w 9144001"/>
              <a:gd name="connsiteY1" fmla="*/ 3544382 h 3544382"/>
              <a:gd name="connsiteX2" fmla="*/ 0 w 9144001"/>
              <a:gd name="connsiteY2" fmla="*/ 3544382 h 3544382"/>
              <a:gd name="connsiteX3" fmla="*/ 0 w 9144001"/>
              <a:gd name="connsiteY3" fmla="*/ 1783833 h 35443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144001" h="3544382">
                <a:moveTo>
                  <a:pt x="9144001" y="0"/>
                </a:moveTo>
                <a:lnTo>
                  <a:pt x="9144001" y="3544382"/>
                </a:lnTo>
                <a:lnTo>
                  <a:pt x="0" y="3544382"/>
                </a:lnTo>
                <a:lnTo>
                  <a:pt x="0" y="1783833"/>
                </a:lnTo>
                <a:close/>
              </a:path>
            </a:pathLst>
          </a:custGeom>
          <a:solidFill>
            <a:schemeClr val="accent5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rtl="0"/>
            <a:endParaRPr lang="en-GB" sz="2400" noProof="0" dirty="0"/>
          </a:p>
        </p:txBody>
      </p:sp>
      <p:pic>
        <p:nvPicPr>
          <p:cNvPr id="9" name="Graphique 8">
            <a:extLst>
              <a:ext uri="{FF2B5EF4-FFF2-40B4-BE49-F238E27FC236}">
                <a16:creationId xmlns:a16="http://schemas.microsoft.com/office/drawing/2014/main" id="{9CD0C6E7-1DE7-82E3-38F7-9135020382D1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-118667" y="86355"/>
            <a:ext cx="12236556" cy="6664400"/>
          </a:xfrm>
          <a:prstGeom prst="rect">
            <a:avLst/>
          </a:prstGeom>
        </p:spPr>
      </p:pic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AB4B72C2-7F41-4916-F394-8F53F7CC7A4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1290218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1" imgH="351" progId="TCLayout.ActiveDocument.1">
                  <p:embed/>
                </p:oleObj>
              </mc:Choice>
              <mc:Fallback>
                <p:oleObj name="think-cell Slide" r:id="rId4" imgW="351" imgH="351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B4B72C2-7F41-4916-F394-8F53F7CC7A4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think-cell data - do not delete" hidden="1">
            <a:extLst>
              <a:ext uri="{FF2B5EF4-FFF2-40B4-BE49-F238E27FC236}">
                <a16:creationId xmlns:a16="http://schemas.microsoft.com/office/drawing/2014/main" id="{67773F6B-5D89-69C0-4404-37E7B9EFA69D}"/>
              </a:ext>
            </a:extLst>
          </p:cNvPr>
          <p:cNvPicPr/>
          <p:nvPr/>
        </p:nvPicPr>
        <p:blipFill>
          <a:blip r:embed="rId5"/>
          <a:stretch>
            <a:fillRect/>
          </a:stretch>
        </p:blipFill>
        <p:spPr>
          <a:xfrm>
            <a:off x="2118" y="2118"/>
            <a:ext cx="2117" cy="2117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5C3407E4-6460-DF55-639D-C1005EE93A69}"/>
              </a:ext>
            </a:extLst>
          </p:cNvPr>
          <p:cNvSpPr/>
          <p:nvPr userDrawn="1"/>
        </p:nvSpPr>
        <p:spPr>
          <a:xfrm>
            <a:off x="235528" y="0"/>
            <a:ext cx="11720945" cy="666815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GB" sz="1067" noProof="0" dirty="0"/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67C0B84D-380D-60B6-5313-451C9DEC04F3}"/>
              </a:ext>
            </a:extLst>
          </p:cNvPr>
          <p:cNvSpPr>
            <a:spLocks noGrp="1"/>
          </p:cNvSpPr>
          <p:nvPr userDrawn="1">
            <p:ph type="ftr" sz="quarter" idx="3"/>
          </p:nvPr>
        </p:nvSpPr>
        <p:spPr>
          <a:xfrm>
            <a:off x="4041629" y="6439624"/>
            <a:ext cx="4114800" cy="143629"/>
          </a:xfrm>
          <a:prstGeom prst="rect">
            <a:avLst/>
          </a:prstGeom>
        </p:spPr>
        <p:txBody>
          <a:bodyPr vert="horz" lIns="0" tIns="0" rIns="0" bIns="0" rtlCol="0" anchor="b">
            <a:spAutoFit/>
          </a:bodyPr>
          <a:lstStyle>
            <a:lvl1pPr algn="ctr" rtl="0">
              <a:defRPr sz="933">
                <a:solidFill>
                  <a:schemeClr val="accent1"/>
                </a:solidFill>
              </a:defRPr>
            </a:lvl1pPr>
          </a:lstStyle>
          <a:p>
            <a:r>
              <a:rPr lang="en-GB"/>
              <a:t>THIS IS THE NAME OF THE PRESENTATION</a:t>
            </a:r>
            <a:endParaRPr lang="en-GB" dirty="0"/>
          </a:p>
        </p:txBody>
      </p:sp>
      <p:pic>
        <p:nvPicPr>
          <p:cNvPr id="11" name="Graphic 2">
            <a:extLst>
              <a:ext uri="{FF2B5EF4-FFF2-40B4-BE49-F238E27FC236}">
                <a16:creationId xmlns:a16="http://schemas.microsoft.com/office/drawing/2014/main" id="{DBB03717-3790-83D7-ABDA-3F30F1746CE7}"/>
              </a:ext>
            </a:extLst>
          </p:cNvPr>
          <p:cNvPicPr>
            <a:picLocks noChangeAspect="1"/>
          </p:cNvPicPr>
          <p:nvPr userDrawn="1"/>
        </p:nvPicPr>
        <p:blipFill>
          <a:blip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66423" y="6258027"/>
            <a:ext cx="779032" cy="325227"/>
          </a:xfrm>
          <a:prstGeom prst="rect">
            <a:avLst/>
          </a:prstGeom>
        </p:spPr>
      </p:pic>
      <p:sp>
        <p:nvSpPr>
          <p:cNvPr id="4" name="Title 3">
            <a:extLst>
              <a:ext uri="{FF2B5EF4-FFF2-40B4-BE49-F238E27FC236}">
                <a16:creationId xmlns:a16="http://schemas.microsoft.com/office/drawing/2014/main" id="{8DED55A4-B807-C1CA-F087-A28CFC9365D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6656" y="578625"/>
            <a:ext cx="10876800" cy="410369"/>
          </a:xfrm>
          <a:prstGeom prst="rect">
            <a:avLst/>
          </a:prstGeom>
        </p:spPr>
        <p:txBody>
          <a:bodyPr vert="horz" lIns="0" tIns="0" rIns="0" bIns="0" anchor="t">
            <a:noAutofit/>
          </a:bodyPr>
          <a:lstStyle>
            <a:lvl1pPr rtl="0">
              <a:lnSpc>
                <a:spcPct val="100000"/>
              </a:lnSpc>
              <a:defRPr sz="2667" b="1" cap="all" spc="53" baseline="0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GB" noProof="0" dirty="0"/>
              <a:t>THIS IS THE SLIDE TITLE</a:t>
            </a:r>
          </a:p>
        </p:txBody>
      </p: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F4D9AFB7-5850-3E72-A64A-617281706DD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58084" y="6434426"/>
            <a:ext cx="315017" cy="143629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 rtl="0">
              <a:defRPr sz="933">
                <a:solidFill>
                  <a:schemeClr val="accent1"/>
                </a:solidFill>
              </a:defRPr>
            </a:lvl1pPr>
          </a:lstStyle>
          <a:p>
            <a:fld id="{809B0AF7-3924-4693-AD32-8215A0397987}" type="slidenum">
              <a:rPr lang="en-GB" smtClean="0"/>
              <a:pPr/>
              <a:t>‹#›</a:t>
            </a:fld>
            <a:endParaRPr lang="en-GB" dirty="0"/>
          </a:p>
        </p:txBody>
      </p:sp>
      <p:grpSp>
        <p:nvGrpSpPr>
          <p:cNvPr id="2" name="Graphique 10">
            <a:extLst>
              <a:ext uri="{FF2B5EF4-FFF2-40B4-BE49-F238E27FC236}">
                <a16:creationId xmlns:a16="http://schemas.microsoft.com/office/drawing/2014/main" id="{1C33E3DA-97D4-238E-3F23-D841598AA06A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669355" y="1033684"/>
            <a:ext cx="801047" cy="120000"/>
            <a:chOff x="3638550" y="2432050"/>
            <a:chExt cx="1862613" cy="279027"/>
          </a:xfrm>
          <a:gradFill flip="none" rotWithShape="1">
            <a:gsLst>
              <a:gs pos="0">
                <a:schemeClr val="accent5"/>
              </a:gs>
              <a:gs pos="100000">
                <a:schemeClr val="accent6"/>
              </a:gs>
            </a:gsLst>
            <a:lin ang="0" scaled="1"/>
            <a:tileRect/>
          </a:gradFill>
        </p:grpSpPr>
        <p:sp>
          <p:nvSpPr>
            <p:cNvPr id="6" name="Forme libre 5">
              <a:extLst>
                <a:ext uri="{FF2B5EF4-FFF2-40B4-BE49-F238E27FC236}">
                  <a16:creationId xmlns:a16="http://schemas.microsoft.com/office/drawing/2014/main" id="{EB859547-59C3-0958-6D93-A73CBA351662}"/>
                </a:ext>
              </a:extLst>
            </p:cNvPr>
            <p:cNvSpPr/>
            <p:nvPr/>
          </p:nvSpPr>
          <p:spPr>
            <a:xfrm>
              <a:off x="3638550" y="2436520"/>
              <a:ext cx="68198" cy="270086"/>
            </a:xfrm>
            <a:custGeom>
              <a:avLst/>
              <a:gdLst>
                <a:gd name="connsiteX0" fmla="*/ 68199 w 68198"/>
                <a:gd name="connsiteY0" fmla="*/ 270087 h 270086"/>
                <a:gd name="connsiteX1" fmla="*/ 0 w 68198"/>
                <a:gd name="connsiteY1" fmla="*/ 270087 h 270086"/>
                <a:gd name="connsiteX2" fmla="*/ 0 w 68198"/>
                <a:gd name="connsiteY2" fmla="*/ 0 h 270086"/>
                <a:gd name="connsiteX3" fmla="*/ 68199 w 68198"/>
                <a:gd name="connsiteY3" fmla="*/ 0 h 270086"/>
                <a:gd name="connsiteX4" fmla="*/ 68199 w 68198"/>
                <a:gd name="connsiteY4" fmla="*/ 270087 h 270086"/>
                <a:gd name="connsiteX5" fmla="*/ 9525 w 68198"/>
                <a:gd name="connsiteY5" fmla="*/ 260773 h 270086"/>
                <a:gd name="connsiteX6" fmla="*/ 58674 w 68198"/>
                <a:gd name="connsiteY6" fmla="*/ 260773 h 270086"/>
                <a:gd name="connsiteX7" fmla="*/ 58674 w 68198"/>
                <a:gd name="connsiteY7" fmla="*/ 9313 h 270086"/>
                <a:gd name="connsiteX8" fmla="*/ 9525 w 68198"/>
                <a:gd name="connsiteY8" fmla="*/ 9313 h 270086"/>
                <a:gd name="connsiteX9" fmla="*/ 9525 w 68198"/>
                <a:gd name="connsiteY9" fmla="*/ 260773 h 2700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68198" h="270086">
                  <a:moveTo>
                    <a:pt x="68199" y="270087"/>
                  </a:moveTo>
                  <a:lnTo>
                    <a:pt x="0" y="270087"/>
                  </a:lnTo>
                  <a:lnTo>
                    <a:pt x="0" y="0"/>
                  </a:lnTo>
                  <a:lnTo>
                    <a:pt x="68199" y="0"/>
                  </a:lnTo>
                  <a:lnTo>
                    <a:pt x="68199" y="270087"/>
                  </a:lnTo>
                  <a:close/>
                  <a:moveTo>
                    <a:pt x="9525" y="260773"/>
                  </a:moveTo>
                  <a:lnTo>
                    <a:pt x="58674" y="260773"/>
                  </a:lnTo>
                  <a:lnTo>
                    <a:pt x="58674" y="9313"/>
                  </a:lnTo>
                  <a:lnTo>
                    <a:pt x="9525" y="9313"/>
                  </a:lnTo>
                  <a:lnTo>
                    <a:pt x="9525" y="260773"/>
                  </a:lnTo>
                  <a:close/>
                </a:path>
              </a:pathLst>
            </a:cu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2400"/>
            </a:p>
          </p:txBody>
        </p:sp>
        <p:sp>
          <p:nvSpPr>
            <p:cNvPr id="13" name="Forme libre 12">
              <a:extLst>
                <a:ext uri="{FF2B5EF4-FFF2-40B4-BE49-F238E27FC236}">
                  <a16:creationId xmlns:a16="http://schemas.microsoft.com/office/drawing/2014/main" id="{07D35794-BBCD-BC81-BCBB-7E5825D2B0D5}"/>
                </a:ext>
              </a:extLst>
            </p:cNvPr>
            <p:cNvSpPr/>
            <p:nvPr/>
          </p:nvSpPr>
          <p:spPr>
            <a:xfrm>
              <a:off x="3752088" y="2432050"/>
              <a:ext cx="292989" cy="279027"/>
            </a:xfrm>
            <a:custGeom>
              <a:avLst/>
              <a:gdLst>
                <a:gd name="connsiteX0" fmla="*/ 146114 w 292989"/>
                <a:gd name="connsiteY0" fmla="*/ 279027 h 279027"/>
                <a:gd name="connsiteX1" fmla="*/ 0 w 292989"/>
                <a:gd name="connsiteY1" fmla="*/ 140259 h 279027"/>
                <a:gd name="connsiteX2" fmla="*/ 0 w 292989"/>
                <a:gd name="connsiteY2" fmla="*/ 139514 h 279027"/>
                <a:gd name="connsiteX3" fmla="*/ 146876 w 292989"/>
                <a:gd name="connsiteY3" fmla="*/ 0 h 279027"/>
                <a:gd name="connsiteX4" fmla="*/ 292989 w 292989"/>
                <a:gd name="connsiteY4" fmla="*/ 138769 h 279027"/>
                <a:gd name="connsiteX5" fmla="*/ 146114 w 292989"/>
                <a:gd name="connsiteY5" fmla="*/ 279027 h 279027"/>
                <a:gd name="connsiteX6" fmla="*/ 146876 w 292989"/>
                <a:gd name="connsiteY6" fmla="*/ 9313 h 279027"/>
                <a:gd name="connsiteX7" fmla="*/ 9525 w 292989"/>
                <a:gd name="connsiteY7" fmla="*/ 139514 h 279027"/>
                <a:gd name="connsiteX8" fmla="*/ 9525 w 292989"/>
                <a:gd name="connsiteY8" fmla="*/ 140259 h 279027"/>
                <a:gd name="connsiteX9" fmla="*/ 146114 w 292989"/>
                <a:gd name="connsiteY9" fmla="*/ 269714 h 279027"/>
                <a:gd name="connsiteX10" fmla="*/ 283464 w 292989"/>
                <a:gd name="connsiteY10" fmla="*/ 139514 h 279027"/>
                <a:gd name="connsiteX11" fmla="*/ 146876 w 292989"/>
                <a:gd name="connsiteY11" fmla="*/ 9313 h 279027"/>
                <a:gd name="connsiteX12" fmla="*/ 146876 w 292989"/>
                <a:gd name="connsiteY12" fmla="*/ 226128 h 279027"/>
                <a:gd name="connsiteX13" fmla="*/ 61341 w 292989"/>
                <a:gd name="connsiteY13" fmla="*/ 139514 h 279027"/>
                <a:gd name="connsiteX14" fmla="*/ 146114 w 292989"/>
                <a:gd name="connsiteY14" fmla="*/ 52900 h 279027"/>
                <a:gd name="connsiteX15" fmla="*/ 231648 w 292989"/>
                <a:gd name="connsiteY15" fmla="*/ 139514 h 279027"/>
                <a:gd name="connsiteX16" fmla="*/ 231648 w 292989"/>
                <a:gd name="connsiteY16" fmla="*/ 140259 h 279027"/>
                <a:gd name="connsiteX17" fmla="*/ 146876 w 292989"/>
                <a:gd name="connsiteY17" fmla="*/ 226128 h 279027"/>
                <a:gd name="connsiteX18" fmla="*/ 146114 w 292989"/>
                <a:gd name="connsiteY18" fmla="*/ 62213 h 279027"/>
                <a:gd name="connsiteX19" fmla="*/ 70866 w 292989"/>
                <a:gd name="connsiteY19" fmla="*/ 138769 h 279027"/>
                <a:gd name="connsiteX20" fmla="*/ 146876 w 292989"/>
                <a:gd name="connsiteY20" fmla="*/ 216814 h 279027"/>
                <a:gd name="connsiteX21" fmla="*/ 222123 w 292989"/>
                <a:gd name="connsiteY21" fmla="*/ 140259 h 279027"/>
                <a:gd name="connsiteX22" fmla="*/ 222123 w 292989"/>
                <a:gd name="connsiteY22" fmla="*/ 139514 h 279027"/>
                <a:gd name="connsiteX23" fmla="*/ 146114 w 292989"/>
                <a:gd name="connsiteY23" fmla="*/ 62213 h 2790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292989" h="279027">
                  <a:moveTo>
                    <a:pt x="146114" y="279027"/>
                  </a:moveTo>
                  <a:cubicBezTo>
                    <a:pt x="62865" y="279027"/>
                    <a:pt x="0" y="219422"/>
                    <a:pt x="0" y="140259"/>
                  </a:cubicBezTo>
                  <a:lnTo>
                    <a:pt x="0" y="139514"/>
                  </a:lnTo>
                  <a:cubicBezTo>
                    <a:pt x="0" y="61282"/>
                    <a:pt x="64484" y="0"/>
                    <a:pt x="146876" y="0"/>
                  </a:cubicBezTo>
                  <a:cubicBezTo>
                    <a:pt x="229267" y="0"/>
                    <a:pt x="292989" y="59605"/>
                    <a:pt x="292989" y="138769"/>
                  </a:cubicBezTo>
                  <a:cubicBezTo>
                    <a:pt x="292989" y="217932"/>
                    <a:pt x="228505" y="279027"/>
                    <a:pt x="146114" y="279027"/>
                  </a:cubicBezTo>
                  <a:close/>
                  <a:moveTo>
                    <a:pt x="146876" y="9313"/>
                  </a:moveTo>
                  <a:cubicBezTo>
                    <a:pt x="69914" y="9313"/>
                    <a:pt x="9525" y="66497"/>
                    <a:pt x="9525" y="139514"/>
                  </a:cubicBezTo>
                  <a:lnTo>
                    <a:pt x="9525" y="140259"/>
                  </a:lnTo>
                  <a:cubicBezTo>
                    <a:pt x="9525" y="214020"/>
                    <a:pt x="68199" y="269714"/>
                    <a:pt x="146114" y="269714"/>
                  </a:cubicBezTo>
                  <a:cubicBezTo>
                    <a:pt x="224028" y="269714"/>
                    <a:pt x="283464" y="212530"/>
                    <a:pt x="283464" y="139514"/>
                  </a:cubicBezTo>
                  <a:cubicBezTo>
                    <a:pt x="283464" y="66497"/>
                    <a:pt x="224695" y="9313"/>
                    <a:pt x="146876" y="9313"/>
                  </a:cubicBezTo>
                  <a:close/>
                  <a:moveTo>
                    <a:pt x="146876" y="226128"/>
                  </a:moveTo>
                  <a:cubicBezTo>
                    <a:pt x="98869" y="226128"/>
                    <a:pt x="61341" y="188129"/>
                    <a:pt x="61341" y="139514"/>
                  </a:cubicBezTo>
                  <a:cubicBezTo>
                    <a:pt x="61341" y="90898"/>
                    <a:pt x="97822" y="52900"/>
                    <a:pt x="146114" y="52900"/>
                  </a:cubicBezTo>
                  <a:cubicBezTo>
                    <a:pt x="194405" y="52900"/>
                    <a:pt x="231648" y="90898"/>
                    <a:pt x="231648" y="139514"/>
                  </a:cubicBezTo>
                  <a:lnTo>
                    <a:pt x="231648" y="140259"/>
                  </a:lnTo>
                  <a:cubicBezTo>
                    <a:pt x="231648" y="189247"/>
                    <a:pt x="195167" y="226128"/>
                    <a:pt x="146876" y="226128"/>
                  </a:cubicBezTo>
                  <a:close/>
                  <a:moveTo>
                    <a:pt x="146114" y="62213"/>
                  </a:moveTo>
                  <a:cubicBezTo>
                    <a:pt x="103251" y="62213"/>
                    <a:pt x="70866" y="95089"/>
                    <a:pt x="70866" y="138769"/>
                  </a:cubicBezTo>
                  <a:cubicBezTo>
                    <a:pt x="70866" y="182448"/>
                    <a:pt x="103537" y="216814"/>
                    <a:pt x="146876" y="216814"/>
                  </a:cubicBezTo>
                  <a:cubicBezTo>
                    <a:pt x="190214" y="216814"/>
                    <a:pt x="222123" y="183938"/>
                    <a:pt x="222123" y="140259"/>
                  </a:cubicBezTo>
                  <a:lnTo>
                    <a:pt x="222123" y="139514"/>
                  </a:lnTo>
                  <a:cubicBezTo>
                    <a:pt x="222123" y="95462"/>
                    <a:pt x="189452" y="62213"/>
                    <a:pt x="146114" y="62213"/>
                  </a:cubicBezTo>
                  <a:close/>
                </a:path>
              </a:pathLst>
            </a:cu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2400"/>
            </a:p>
          </p:txBody>
        </p:sp>
        <p:sp>
          <p:nvSpPr>
            <p:cNvPr id="14" name="Forme libre 13">
              <a:extLst>
                <a:ext uri="{FF2B5EF4-FFF2-40B4-BE49-F238E27FC236}">
                  <a16:creationId xmlns:a16="http://schemas.microsoft.com/office/drawing/2014/main" id="{A7066454-0778-E410-C215-8E339EA18129}"/>
                </a:ext>
              </a:extLst>
            </p:cNvPr>
            <p:cNvSpPr/>
            <p:nvPr/>
          </p:nvSpPr>
          <p:spPr>
            <a:xfrm>
              <a:off x="4075937" y="2432050"/>
              <a:ext cx="292989" cy="279027"/>
            </a:xfrm>
            <a:custGeom>
              <a:avLst/>
              <a:gdLst>
                <a:gd name="connsiteX0" fmla="*/ 146114 w 292989"/>
                <a:gd name="connsiteY0" fmla="*/ 279027 h 279027"/>
                <a:gd name="connsiteX1" fmla="*/ 0 w 292989"/>
                <a:gd name="connsiteY1" fmla="*/ 140259 h 279027"/>
                <a:gd name="connsiteX2" fmla="*/ 0 w 292989"/>
                <a:gd name="connsiteY2" fmla="*/ 139514 h 279027"/>
                <a:gd name="connsiteX3" fmla="*/ 146876 w 292989"/>
                <a:gd name="connsiteY3" fmla="*/ 0 h 279027"/>
                <a:gd name="connsiteX4" fmla="*/ 292989 w 292989"/>
                <a:gd name="connsiteY4" fmla="*/ 138769 h 279027"/>
                <a:gd name="connsiteX5" fmla="*/ 146114 w 292989"/>
                <a:gd name="connsiteY5" fmla="*/ 279027 h 279027"/>
                <a:gd name="connsiteX6" fmla="*/ 146876 w 292989"/>
                <a:gd name="connsiteY6" fmla="*/ 9313 h 279027"/>
                <a:gd name="connsiteX7" fmla="*/ 9525 w 292989"/>
                <a:gd name="connsiteY7" fmla="*/ 139514 h 279027"/>
                <a:gd name="connsiteX8" fmla="*/ 9525 w 292989"/>
                <a:gd name="connsiteY8" fmla="*/ 140259 h 279027"/>
                <a:gd name="connsiteX9" fmla="*/ 146114 w 292989"/>
                <a:gd name="connsiteY9" fmla="*/ 269714 h 279027"/>
                <a:gd name="connsiteX10" fmla="*/ 283464 w 292989"/>
                <a:gd name="connsiteY10" fmla="*/ 139514 h 279027"/>
                <a:gd name="connsiteX11" fmla="*/ 146876 w 292989"/>
                <a:gd name="connsiteY11" fmla="*/ 9313 h 279027"/>
                <a:gd name="connsiteX12" fmla="*/ 146876 w 292989"/>
                <a:gd name="connsiteY12" fmla="*/ 226128 h 279027"/>
                <a:gd name="connsiteX13" fmla="*/ 61341 w 292989"/>
                <a:gd name="connsiteY13" fmla="*/ 139514 h 279027"/>
                <a:gd name="connsiteX14" fmla="*/ 146114 w 292989"/>
                <a:gd name="connsiteY14" fmla="*/ 52900 h 279027"/>
                <a:gd name="connsiteX15" fmla="*/ 231648 w 292989"/>
                <a:gd name="connsiteY15" fmla="*/ 139514 h 279027"/>
                <a:gd name="connsiteX16" fmla="*/ 231648 w 292989"/>
                <a:gd name="connsiteY16" fmla="*/ 140259 h 279027"/>
                <a:gd name="connsiteX17" fmla="*/ 146876 w 292989"/>
                <a:gd name="connsiteY17" fmla="*/ 226128 h 279027"/>
                <a:gd name="connsiteX18" fmla="*/ 146114 w 292989"/>
                <a:gd name="connsiteY18" fmla="*/ 62213 h 279027"/>
                <a:gd name="connsiteX19" fmla="*/ 70866 w 292989"/>
                <a:gd name="connsiteY19" fmla="*/ 138769 h 279027"/>
                <a:gd name="connsiteX20" fmla="*/ 146876 w 292989"/>
                <a:gd name="connsiteY20" fmla="*/ 216814 h 279027"/>
                <a:gd name="connsiteX21" fmla="*/ 222123 w 292989"/>
                <a:gd name="connsiteY21" fmla="*/ 140259 h 279027"/>
                <a:gd name="connsiteX22" fmla="*/ 222123 w 292989"/>
                <a:gd name="connsiteY22" fmla="*/ 139514 h 279027"/>
                <a:gd name="connsiteX23" fmla="*/ 146114 w 292989"/>
                <a:gd name="connsiteY23" fmla="*/ 62213 h 2790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292989" h="279027">
                  <a:moveTo>
                    <a:pt x="146114" y="279027"/>
                  </a:moveTo>
                  <a:cubicBezTo>
                    <a:pt x="62865" y="279027"/>
                    <a:pt x="0" y="219422"/>
                    <a:pt x="0" y="140259"/>
                  </a:cubicBezTo>
                  <a:lnTo>
                    <a:pt x="0" y="139514"/>
                  </a:lnTo>
                  <a:cubicBezTo>
                    <a:pt x="0" y="61282"/>
                    <a:pt x="64484" y="0"/>
                    <a:pt x="146876" y="0"/>
                  </a:cubicBezTo>
                  <a:cubicBezTo>
                    <a:pt x="229267" y="0"/>
                    <a:pt x="292989" y="59605"/>
                    <a:pt x="292989" y="138769"/>
                  </a:cubicBezTo>
                  <a:cubicBezTo>
                    <a:pt x="292989" y="217932"/>
                    <a:pt x="228505" y="279027"/>
                    <a:pt x="146114" y="279027"/>
                  </a:cubicBezTo>
                  <a:close/>
                  <a:moveTo>
                    <a:pt x="146876" y="9313"/>
                  </a:moveTo>
                  <a:cubicBezTo>
                    <a:pt x="69914" y="9313"/>
                    <a:pt x="9525" y="66497"/>
                    <a:pt x="9525" y="139514"/>
                  </a:cubicBezTo>
                  <a:lnTo>
                    <a:pt x="9525" y="140259"/>
                  </a:lnTo>
                  <a:cubicBezTo>
                    <a:pt x="9525" y="214020"/>
                    <a:pt x="68199" y="269714"/>
                    <a:pt x="146114" y="269714"/>
                  </a:cubicBezTo>
                  <a:cubicBezTo>
                    <a:pt x="224028" y="269714"/>
                    <a:pt x="283464" y="212530"/>
                    <a:pt x="283464" y="139514"/>
                  </a:cubicBezTo>
                  <a:cubicBezTo>
                    <a:pt x="283464" y="66497"/>
                    <a:pt x="224790" y="9313"/>
                    <a:pt x="146876" y="9313"/>
                  </a:cubicBezTo>
                  <a:close/>
                  <a:moveTo>
                    <a:pt x="146876" y="226128"/>
                  </a:moveTo>
                  <a:cubicBezTo>
                    <a:pt x="98870" y="226128"/>
                    <a:pt x="61341" y="188129"/>
                    <a:pt x="61341" y="139514"/>
                  </a:cubicBezTo>
                  <a:cubicBezTo>
                    <a:pt x="61341" y="90898"/>
                    <a:pt x="97822" y="52900"/>
                    <a:pt x="146114" y="52900"/>
                  </a:cubicBezTo>
                  <a:cubicBezTo>
                    <a:pt x="194405" y="52900"/>
                    <a:pt x="231648" y="90898"/>
                    <a:pt x="231648" y="139514"/>
                  </a:cubicBezTo>
                  <a:lnTo>
                    <a:pt x="231648" y="140259"/>
                  </a:lnTo>
                  <a:cubicBezTo>
                    <a:pt x="231648" y="189247"/>
                    <a:pt x="195167" y="226128"/>
                    <a:pt x="146876" y="226128"/>
                  </a:cubicBezTo>
                  <a:close/>
                  <a:moveTo>
                    <a:pt x="146114" y="62213"/>
                  </a:moveTo>
                  <a:cubicBezTo>
                    <a:pt x="103251" y="62213"/>
                    <a:pt x="70866" y="95089"/>
                    <a:pt x="70866" y="138769"/>
                  </a:cubicBezTo>
                  <a:cubicBezTo>
                    <a:pt x="70866" y="182448"/>
                    <a:pt x="103537" y="216814"/>
                    <a:pt x="146876" y="216814"/>
                  </a:cubicBezTo>
                  <a:cubicBezTo>
                    <a:pt x="190214" y="216814"/>
                    <a:pt x="222123" y="183938"/>
                    <a:pt x="222123" y="140259"/>
                  </a:cubicBezTo>
                  <a:lnTo>
                    <a:pt x="222123" y="139514"/>
                  </a:lnTo>
                  <a:cubicBezTo>
                    <a:pt x="222123" y="95462"/>
                    <a:pt x="189452" y="62213"/>
                    <a:pt x="146114" y="62213"/>
                  </a:cubicBezTo>
                  <a:close/>
                </a:path>
              </a:pathLst>
            </a:cu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2400"/>
            </a:p>
          </p:txBody>
        </p:sp>
        <p:sp>
          <p:nvSpPr>
            <p:cNvPr id="15" name="Forme libre 14">
              <a:extLst>
                <a:ext uri="{FF2B5EF4-FFF2-40B4-BE49-F238E27FC236}">
                  <a16:creationId xmlns:a16="http://schemas.microsoft.com/office/drawing/2014/main" id="{BFAEE5B0-5A27-75F5-6496-81461D6DD99A}"/>
                </a:ext>
              </a:extLst>
            </p:cNvPr>
            <p:cNvSpPr/>
            <p:nvPr/>
          </p:nvSpPr>
          <p:spPr>
            <a:xfrm>
              <a:off x="4414266" y="2436520"/>
              <a:ext cx="68198" cy="270086"/>
            </a:xfrm>
            <a:custGeom>
              <a:avLst/>
              <a:gdLst>
                <a:gd name="connsiteX0" fmla="*/ 68199 w 68198"/>
                <a:gd name="connsiteY0" fmla="*/ 270087 h 270086"/>
                <a:gd name="connsiteX1" fmla="*/ 0 w 68198"/>
                <a:gd name="connsiteY1" fmla="*/ 270087 h 270086"/>
                <a:gd name="connsiteX2" fmla="*/ 0 w 68198"/>
                <a:gd name="connsiteY2" fmla="*/ 0 h 270086"/>
                <a:gd name="connsiteX3" fmla="*/ 68199 w 68198"/>
                <a:gd name="connsiteY3" fmla="*/ 0 h 270086"/>
                <a:gd name="connsiteX4" fmla="*/ 68199 w 68198"/>
                <a:gd name="connsiteY4" fmla="*/ 270087 h 270086"/>
                <a:gd name="connsiteX5" fmla="*/ 9525 w 68198"/>
                <a:gd name="connsiteY5" fmla="*/ 260773 h 270086"/>
                <a:gd name="connsiteX6" fmla="*/ 58674 w 68198"/>
                <a:gd name="connsiteY6" fmla="*/ 260773 h 270086"/>
                <a:gd name="connsiteX7" fmla="*/ 58674 w 68198"/>
                <a:gd name="connsiteY7" fmla="*/ 9313 h 270086"/>
                <a:gd name="connsiteX8" fmla="*/ 9525 w 68198"/>
                <a:gd name="connsiteY8" fmla="*/ 9313 h 270086"/>
                <a:gd name="connsiteX9" fmla="*/ 9525 w 68198"/>
                <a:gd name="connsiteY9" fmla="*/ 260773 h 2700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68198" h="270086">
                  <a:moveTo>
                    <a:pt x="68199" y="270087"/>
                  </a:moveTo>
                  <a:lnTo>
                    <a:pt x="0" y="270087"/>
                  </a:lnTo>
                  <a:lnTo>
                    <a:pt x="0" y="0"/>
                  </a:lnTo>
                  <a:lnTo>
                    <a:pt x="68199" y="0"/>
                  </a:lnTo>
                  <a:lnTo>
                    <a:pt x="68199" y="270087"/>
                  </a:lnTo>
                  <a:close/>
                  <a:moveTo>
                    <a:pt x="9525" y="260773"/>
                  </a:moveTo>
                  <a:lnTo>
                    <a:pt x="58674" y="260773"/>
                  </a:lnTo>
                  <a:lnTo>
                    <a:pt x="58674" y="9313"/>
                  </a:lnTo>
                  <a:lnTo>
                    <a:pt x="9525" y="9313"/>
                  </a:lnTo>
                  <a:lnTo>
                    <a:pt x="9525" y="260773"/>
                  </a:lnTo>
                  <a:close/>
                </a:path>
              </a:pathLst>
            </a:cu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2400"/>
            </a:p>
          </p:txBody>
        </p:sp>
        <p:sp>
          <p:nvSpPr>
            <p:cNvPr id="16" name="Forme libre 15">
              <a:extLst>
                <a:ext uri="{FF2B5EF4-FFF2-40B4-BE49-F238E27FC236}">
                  <a16:creationId xmlns:a16="http://schemas.microsoft.com/office/drawing/2014/main" id="{9F8DE8B3-E1A0-5849-A9C7-66CE7E8D95EF}"/>
                </a:ext>
              </a:extLst>
            </p:cNvPr>
            <p:cNvSpPr/>
            <p:nvPr/>
          </p:nvSpPr>
          <p:spPr>
            <a:xfrm>
              <a:off x="4756404" y="2432050"/>
              <a:ext cx="292988" cy="279027"/>
            </a:xfrm>
            <a:custGeom>
              <a:avLst/>
              <a:gdLst>
                <a:gd name="connsiteX0" fmla="*/ 146113 w 292988"/>
                <a:gd name="connsiteY0" fmla="*/ 279027 h 279027"/>
                <a:gd name="connsiteX1" fmla="*/ 0 w 292988"/>
                <a:gd name="connsiteY1" fmla="*/ 140259 h 279027"/>
                <a:gd name="connsiteX2" fmla="*/ 0 w 292988"/>
                <a:gd name="connsiteY2" fmla="*/ 139514 h 279027"/>
                <a:gd name="connsiteX3" fmla="*/ 146875 w 292988"/>
                <a:gd name="connsiteY3" fmla="*/ 0 h 279027"/>
                <a:gd name="connsiteX4" fmla="*/ 292989 w 292988"/>
                <a:gd name="connsiteY4" fmla="*/ 138769 h 279027"/>
                <a:gd name="connsiteX5" fmla="*/ 146113 w 292988"/>
                <a:gd name="connsiteY5" fmla="*/ 279027 h 279027"/>
                <a:gd name="connsiteX6" fmla="*/ 146875 w 292988"/>
                <a:gd name="connsiteY6" fmla="*/ 9313 h 279027"/>
                <a:gd name="connsiteX7" fmla="*/ 9525 w 292988"/>
                <a:gd name="connsiteY7" fmla="*/ 139514 h 279027"/>
                <a:gd name="connsiteX8" fmla="*/ 9525 w 292988"/>
                <a:gd name="connsiteY8" fmla="*/ 140259 h 279027"/>
                <a:gd name="connsiteX9" fmla="*/ 146113 w 292988"/>
                <a:gd name="connsiteY9" fmla="*/ 269714 h 279027"/>
                <a:gd name="connsiteX10" fmla="*/ 283464 w 292988"/>
                <a:gd name="connsiteY10" fmla="*/ 139514 h 279027"/>
                <a:gd name="connsiteX11" fmla="*/ 146875 w 292988"/>
                <a:gd name="connsiteY11" fmla="*/ 9313 h 279027"/>
                <a:gd name="connsiteX12" fmla="*/ 146875 w 292988"/>
                <a:gd name="connsiteY12" fmla="*/ 226128 h 279027"/>
                <a:gd name="connsiteX13" fmla="*/ 61341 w 292988"/>
                <a:gd name="connsiteY13" fmla="*/ 139514 h 279027"/>
                <a:gd name="connsiteX14" fmla="*/ 146113 w 292988"/>
                <a:gd name="connsiteY14" fmla="*/ 52900 h 279027"/>
                <a:gd name="connsiteX15" fmla="*/ 231648 w 292988"/>
                <a:gd name="connsiteY15" fmla="*/ 139514 h 279027"/>
                <a:gd name="connsiteX16" fmla="*/ 231648 w 292988"/>
                <a:gd name="connsiteY16" fmla="*/ 140259 h 279027"/>
                <a:gd name="connsiteX17" fmla="*/ 146875 w 292988"/>
                <a:gd name="connsiteY17" fmla="*/ 226128 h 279027"/>
                <a:gd name="connsiteX18" fmla="*/ 146113 w 292988"/>
                <a:gd name="connsiteY18" fmla="*/ 62213 h 279027"/>
                <a:gd name="connsiteX19" fmla="*/ 70866 w 292988"/>
                <a:gd name="connsiteY19" fmla="*/ 138769 h 279027"/>
                <a:gd name="connsiteX20" fmla="*/ 146875 w 292988"/>
                <a:gd name="connsiteY20" fmla="*/ 216814 h 279027"/>
                <a:gd name="connsiteX21" fmla="*/ 222123 w 292988"/>
                <a:gd name="connsiteY21" fmla="*/ 140259 h 279027"/>
                <a:gd name="connsiteX22" fmla="*/ 222123 w 292988"/>
                <a:gd name="connsiteY22" fmla="*/ 139514 h 279027"/>
                <a:gd name="connsiteX23" fmla="*/ 146113 w 292988"/>
                <a:gd name="connsiteY23" fmla="*/ 62213 h 2790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292988" h="279027">
                  <a:moveTo>
                    <a:pt x="146113" y="279027"/>
                  </a:moveTo>
                  <a:cubicBezTo>
                    <a:pt x="62865" y="279027"/>
                    <a:pt x="0" y="219422"/>
                    <a:pt x="0" y="140259"/>
                  </a:cubicBezTo>
                  <a:lnTo>
                    <a:pt x="0" y="139514"/>
                  </a:lnTo>
                  <a:cubicBezTo>
                    <a:pt x="0" y="61282"/>
                    <a:pt x="64484" y="0"/>
                    <a:pt x="146875" y="0"/>
                  </a:cubicBezTo>
                  <a:cubicBezTo>
                    <a:pt x="229267" y="0"/>
                    <a:pt x="292989" y="59605"/>
                    <a:pt x="292989" y="138769"/>
                  </a:cubicBezTo>
                  <a:cubicBezTo>
                    <a:pt x="292989" y="217932"/>
                    <a:pt x="228505" y="279027"/>
                    <a:pt x="146113" y="279027"/>
                  </a:cubicBezTo>
                  <a:close/>
                  <a:moveTo>
                    <a:pt x="146875" y="9313"/>
                  </a:moveTo>
                  <a:cubicBezTo>
                    <a:pt x="69913" y="9313"/>
                    <a:pt x="9525" y="66497"/>
                    <a:pt x="9525" y="139514"/>
                  </a:cubicBezTo>
                  <a:lnTo>
                    <a:pt x="9525" y="140259"/>
                  </a:lnTo>
                  <a:cubicBezTo>
                    <a:pt x="9525" y="214020"/>
                    <a:pt x="68199" y="269714"/>
                    <a:pt x="146113" y="269714"/>
                  </a:cubicBezTo>
                  <a:cubicBezTo>
                    <a:pt x="224028" y="269714"/>
                    <a:pt x="283464" y="212530"/>
                    <a:pt x="283464" y="139514"/>
                  </a:cubicBezTo>
                  <a:cubicBezTo>
                    <a:pt x="283464" y="66497"/>
                    <a:pt x="224790" y="9313"/>
                    <a:pt x="146875" y="9313"/>
                  </a:cubicBezTo>
                  <a:close/>
                  <a:moveTo>
                    <a:pt x="146875" y="226128"/>
                  </a:moveTo>
                  <a:cubicBezTo>
                    <a:pt x="98869" y="226128"/>
                    <a:pt x="61341" y="188129"/>
                    <a:pt x="61341" y="139514"/>
                  </a:cubicBezTo>
                  <a:cubicBezTo>
                    <a:pt x="61341" y="90898"/>
                    <a:pt x="97822" y="52900"/>
                    <a:pt x="146113" y="52900"/>
                  </a:cubicBezTo>
                  <a:cubicBezTo>
                    <a:pt x="194405" y="52900"/>
                    <a:pt x="231648" y="90898"/>
                    <a:pt x="231648" y="139514"/>
                  </a:cubicBezTo>
                  <a:lnTo>
                    <a:pt x="231648" y="140259"/>
                  </a:lnTo>
                  <a:cubicBezTo>
                    <a:pt x="231648" y="189247"/>
                    <a:pt x="195167" y="226128"/>
                    <a:pt x="146875" y="226128"/>
                  </a:cubicBezTo>
                  <a:close/>
                  <a:moveTo>
                    <a:pt x="146113" y="62213"/>
                  </a:moveTo>
                  <a:cubicBezTo>
                    <a:pt x="103251" y="62213"/>
                    <a:pt x="70866" y="95089"/>
                    <a:pt x="70866" y="138769"/>
                  </a:cubicBezTo>
                  <a:cubicBezTo>
                    <a:pt x="70866" y="182448"/>
                    <a:pt x="103537" y="216814"/>
                    <a:pt x="146875" y="216814"/>
                  </a:cubicBezTo>
                  <a:cubicBezTo>
                    <a:pt x="190214" y="216814"/>
                    <a:pt x="222123" y="183938"/>
                    <a:pt x="222123" y="140259"/>
                  </a:cubicBezTo>
                  <a:lnTo>
                    <a:pt x="222123" y="139514"/>
                  </a:lnTo>
                  <a:cubicBezTo>
                    <a:pt x="222123" y="95462"/>
                    <a:pt x="189452" y="62213"/>
                    <a:pt x="146113" y="62213"/>
                  </a:cubicBezTo>
                  <a:close/>
                </a:path>
              </a:pathLst>
            </a:cu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2400"/>
            </a:p>
          </p:txBody>
        </p:sp>
        <p:sp>
          <p:nvSpPr>
            <p:cNvPr id="17" name="Forme libre 16">
              <a:extLst>
                <a:ext uri="{FF2B5EF4-FFF2-40B4-BE49-F238E27FC236}">
                  <a16:creationId xmlns:a16="http://schemas.microsoft.com/office/drawing/2014/main" id="{9B7B201F-643A-F010-4FE5-A0FA07891FCE}"/>
                </a:ext>
              </a:extLst>
            </p:cNvPr>
            <p:cNvSpPr/>
            <p:nvPr/>
          </p:nvSpPr>
          <p:spPr>
            <a:xfrm>
              <a:off x="5094732" y="2436520"/>
              <a:ext cx="68198" cy="270086"/>
            </a:xfrm>
            <a:custGeom>
              <a:avLst/>
              <a:gdLst>
                <a:gd name="connsiteX0" fmla="*/ 68199 w 68198"/>
                <a:gd name="connsiteY0" fmla="*/ 270087 h 270086"/>
                <a:gd name="connsiteX1" fmla="*/ 0 w 68198"/>
                <a:gd name="connsiteY1" fmla="*/ 270087 h 270086"/>
                <a:gd name="connsiteX2" fmla="*/ 0 w 68198"/>
                <a:gd name="connsiteY2" fmla="*/ 0 h 270086"/>
                <a:gd name="connsiteX3" fmla="*/ 68199 w 68198"/>
                <a:gd name="connsiteY3" fmla="*/ 0 h 270086"/>
                <a:gd name="connsiteX4" fmla="*/ 68199 w 68198"/>
                <a:gd name="connsiteY4" fmla="*/ 270087 h 270086"/>
                <a:gd name="connsiteX5" fmla="*/ 9525 w 68198"/>
                <a:gd name="connsiteY5" fmla="*/ 260773 h 270086"/>
                <a:gd name="connsiteX6" fmla="*/ 58674 w 68198"/>
                <a:gd name="connsiteY6" fmla="*/ 260773 h 270086"/>
                <a:gd name="connsiteX7" fmla="*/ 58674 w 68198"/>
                <a:gd name="connsiteY7" fmla="*/ 9313 h 270086"/>
                <a:gd name="connsiteX8" fmla="*/ 9525 w 68198"/>
                <a:gd name="connsiteY8" fmla="*/ 9313 h 270086"/>
                <a:gd name="connsiteX9" fmla="*/ 9525 w 68198"/>
                <a:gd name="connsiteY9" fmla="*/ 260773 h 2700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68198" h="270086">
                  <a:moveTo>
                    <a:pt x="68199" y="270087"/>
                  </a:moveTo>
                  <a:lnTo>
                    <a:pt x="0" y="270087"/>
                  </a:lnTo>
                  <a:lnTo>
                    <a:pt x="0" y="0"/>
                  </a:lnTo>
                  <a:lnTo>
                    <a:pt x="68199" y="0"/>
                  </a:lnTo>
                  <a:lnTo>
                    <a:pt x="68199" y="270087"/>
                  </a:lnTo>
                  <a:close/>
                  <a:moveTo>
                    <a:pt x="9525" y="260773"/>
                  </a:moveTo>
                  <a:lnTo>
                    <a:pt x="58674" y="260773"/>
                  </a:lnTo>
                  <a:lnTo>
                    <a:pt x="58674" y="9313"/>
                  </a:lnTo>
                  <a:lnTo>
                    <a:pt x="9525" y="9313"/>
                  </a:lnTo>
                  <a:lnTo>
                    <a:pt x="9525" y="260773"/>
                  </a:lnTo>
                  <a:close/>
                </a:path>
              </a:pathLst>
            </a:cu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2400"/>
            </a:p>
          </p:txBody>
        </p:sp>
        <p:sp>
          <p:nvSpPr>
            <p:cNvPr id="18" name="Forme libre 17">
              <a:extLst>
                <a:ext uri="{FF2B5EF4-FFF2-40B4-BE49-F238E27FC236}">
                  <a16:creationId xmlns:a16="http://schemas.microsoft.com/office/drawing/2014/main" id="{D3555A97-67B6-7193-F1CF-E5BF7AE09A34}"/>
                </a:ext>
              </a:extLst>
            </p:cNvPr>
            <p:cNvSpPr/>
            <p:nvPr/>
          </p:nvSpPr>
          <p:spPr>
            <a:xfrm>
              <a:off x="5208174" y="2432050"/>
              <a:ext cx="292989" cy="279027"/>
            </a:xfrm>
            <a:custGeom>
              <a:avLst/>
              <a:gdLst>
                <a:gd name="connsiteX0" fmla="*/ 146114 w 292989"/>
                <a:gd name="connsiteY0" fmla="*/ 279027 h 279027"/>
                <a:gd name="connsiteX1" fmla="*/ 0 w 292989"/>
                <a:gd name="connsiteY1" fmla="*/ 140259 h 279027"/>
                <a:gd name="connsiteX2" fmla="*/ 0 w 292989"/>
                <a:gd name="connsiteY2" fmla="*/ 139514 h 279027"/>
                <a:gd name="connsiteX3" fmla="*/ 146876 w 292989"/>
                <a:gd name="connsiteY3" fmla="*/ 0 h 279027"/>
                <a:gd name="connsiteX4" fmla="*/ 292989 w 292989"/>
                <a:gd name="connsiteY4" fmla="*/ 138769 h 279027"/>
                <a:gd name="connsiteX5" fmla="*/ 146114 w 292989"/>
                <a:gd name="connsiteY5" fmla="*/ 279027 h 279027"/>
                <a:gd name="connsiteX6" fmla="*/ 146876 w 292989"/>
                <a:gd name="connsiteY6" fmla="*/ 9313 h 279027"/>
                <a:gd name="connsiteX7" fmla="*/ 9525 w 292989"/>
                <a:gd name="connsiteY7" fmla="*/ 139514 h 279027"/>
                <a:gd name="connsiteX8" fmla="*/ 9525 w 292989"/>
                <a:gd name="connsiteY8" fmla="*/ 140259 h 279027"/>
                <a:gd name="connsiteX9" fmla="*/ 146114 w 292989"/>
                <a:gd name="connsiteY9" fmla="*/ 269714 h 279027"/>
                <a:gd name="connsiteX10" fmla="*/ 283464 w 292989"/>
                <a:gd name="connsiteY10" fmla="*/ 139514 h 279027"/>
                <a:gd name="connsiteX11" fmla="*/ 146876 w 292989"/>
                <a:gd name="connsiteY11" fmla="*/ 9313 h 279027"/>
                <a:gd name="connsiteX12" fmla="*/ 146876 w 292989"/>
                <a:gd name="connsiteY12" fmla="*/ 226128 h 279027"/>
                <a:gd name="connsiteX13" fmla="*/ 61341 w 292989"/>
                <a:gd name="connsiteY13" fmla="*/ 139514 h 279027"/>
                <a:gd name="connsiteX14" fmla="*/ 146114 w 292989"/>
                <a:gd name="connsiteY14" fmla="*/ 52900 h 279027"/>
                <a:gd name="connsiteX15" fmla="*/ 231648 w 292989"/>
                <a:gd name="connsiteY15" fmla="*/ 139514 h 279027"/>
                <a:gd name="connsiteX16" fmla="*/ 231648 w 292989"/>
                <a:gd name="connsiteY16" fmla="*/ 140259 h 279027"/>
                <a:gd name="connsiteX17" fmla="*/ 146876 w 292989"/>
                <a:gd name="connsiteY17" fmla="*/ 226128 h 279027"/>
                <a:gd name="connsiteX18" fmla="*/ 146114 w 292989"/>
                <a:gd name="connsiteY18" fmla="*/ 62213 h 279027"/>
                <a:gd name="connsiteX19" fmla="*/ 70866 w 292989"/>
                <a:gd name="connsiteY19" fmla="*/ 138769 h 279027"/>
                <a:gd name="connsiteX20" fmla="*/ 146876 w 292989"/>
                <a:gd name="connsiteY20" fmla="*/ 216814 h 279027"/>
                <a:gd name="connsiteX21" fmla="*/ 222123 w 292989"/>
                <a:gd name="connsiteY21" fmla="*/ 140259 h 279027"/>
                <a:gd name="connsiteX22" fmla="*/ 222123 w 292989"/>
                <a:gd name="connsiteY22" fmla="*/ 139514 h 279027"/>
                <a:gd name="connsiteX23" fmla="*/ 146114 w 292989"/>
                <a:gd name="connsiteY23" fmla="*/ 62213 h 2790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292989" h="279027">
                  <a:moveTo>
                    <a:pt x="146114" y="279027"/>
                  </a:moveTo>
                  <a:cubicBezTo>
                    <a:pt x="62865" y="279027"/>
                    <a:pt x="0" y="219422"/>
                    <a:pt x="0" y="140259"/>
                  </a:cubicBezTo>
                  <a:lnTo>
                    <a:pt x="0" y="139514"/>
                  </a:lnTo>
                  <a:cubicBezTo>
                    <a:pt x="0" y="61282"/>
                    <a:pt x="64484" y="0"/>
                    <a:pt x="146876" y="0"/>
                  </a:cubicBezTo>
                  <a:cubicBezTo>
                    <a:pt x="229267" y="0"/>
                    <a:pt x="292989" y="59605"/>
                    <a:pt x="292989" y="138769"/>
                  </a:cubicBezTo>
                  <a:cubicBezTo>
                    <a:pt x="292989" y="217932"/>
                    <a:pt x="228505" y="279027"/>
                    <a:pt x="146114" y="279027"/>
                  </a:cubicBezTo>
                  <a:close/>
                  <a:moveTo>
                    <a:pt x="146876" y="9313"/>
                  </a:moveTo>
                  <a:cubicBezTo>
                    <a:pt x="69914" y="9313"/>
                    <a:pt x="9525" y="66497"/>
                    <a:pt x="9525" y="139514"/>
                  </a:cubicBezTo>
                  <a:lnTo>
                    <a:pt x="9525" y="140259"/>
                  </a:lnTo>
                  <a:cubicBezTo>
                    <a:pt x="9525" y="214020"/>
                    <a:pt x="68199" y="269714"/>
                    <a:pt x="146114" y="269714"/>
                  </a:cubicBezTo>
                  <a:cubicBezTo>
                    <a:pt x="224028" y="269714"/>
                    <a:pt x="283464" y="212530"/>
                    <a:pt x="283464" y="139514"/>
                  </a:cubicBezTo>
                  <a:cubicBezTo>
                    <a:pt x="283464" y="66497"/>
                    <a:pt x="224790" y="9313"/>
                    <a:pt x="146876" y="9313"/>
                  </a:cubicBezTo>
                  <a:close/>
                  <a:moveTo>
                    <a:pt x="146876" y="226128"/>
                  </a:moveTo>
                  <a:cubicBezTo>
                    <a:pt x="98870" y="226128"/>
                    <a:pt x="61341" y="188129"/>
                    <a:pt x="61341" y="139514"/>
                  </a:cubicBezTo>
                  <a:cubicBezTo>
                    <a:pt x="61341" y="90898"/>
                    <a:pt x="97822" y="52900"/>
                    <a:pt x="146114" y="52900"/>
                  </a:cubicBezTo>
                  <a:cubicBezTo>
                    <a:pt x="194405" y="52900"/>
                    <a:pt x="231648" y="90898"/>
                    <a:pt x="231648" y="139514"/>
                  </a:cubicBezTo>
                  <a:lnTo>
                    <a:pt x="231648" y="140259"/>
                  </a:lnTo>
                  <a:cubicBezTo>
                    <a:pt x="231648" y="189247"/>
                    <a:pt x="195167" y="226128"/>
                    <a:pt x="146876" y="226128"/>
                  </a:cubicBezTo>
                  <a:close/>
                  <a:moveTo>
                    <a:pt x="146114" y="62213"/>
                  </a:moveTo>
                  <a:cubicBezTo>
                    <a:pt x="103251" y="62213"/>
                    <a:pt x="70866" y="95089"/>
                    <a:pt x="70866" y="138769"/>
                  </a:cubicBezTo>
                  <a:cubicBezTo>
                    <a:pt x="70866" y="182448"/>
                    <a:pt x="103537" y="216814"/>
                    <a:pt x="146876" y="216814"/>
                  </a:cubicBezTo>
                  <a:cubicBezTo>
                    <a:pt x="190214" y="216814"/>
                    <a:pt x="222123" y="183938"/>
                    <a:pt x="222123" y="140259"/>
                  </a:cubicBezTo>
                  <a:lnTo>
                    <a:pt x="222123" y="139514"/>
                  </a:lnTo>
                  <a:cubicBezTo>
                    <a:pt x="222123" y="95462"/>
                    <a:pt x="189452" y="62213"/>
                    <a:pt x="146114" y="62213"/>
                  </a:cubicBezTo>
                  <a:close/>
                </a:path>
              </a:pathLst>
            </a:cu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2400"/>
            </a:p>
          </p:txBody>
        </p:sp>
      </p:grpSp>
    </p:spTree>
    <p:extLst>
      <p:ext uri="{BB962C8B-B14F-4D97-AF65-F5344CB8AC3E}">
        <p14:creationId xmlns:p14="http://schemas.microsoft.com/office/powerpoint/2010/main" val="2064606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V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 9">
            <a:extLst>
              <a:ext uri="{FF2B5EF4-FFF2-40B4-BE49-F238E27FC236}">
                <a16:creationId xmlns:a16="http://schemas.microsoft.com/office/drawing/2014/main" id="{4C21D964-4129-8057-4EEB-131938A715A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1388"/>
            <a:ext cx="12192000" cy="6858000"/>
          </a:xfrm>
          <a:prstGeom prst="rect">
            <a:avLst/>
          </a:prstGeom>
        </p:spPr>
      </p:pic>
      <p:grpSp>
        <p:nvGrpSpPr>
          <p:cNvPr id="25" name="Groupe 24">
            <a:extLst>
              <a:ext uri="{FF2B5EF4-FFF2-40B4-BE49-F238E27FC236}">
                <a16:creationId xmlns:a16="http://schemas.microsoft.com/office/drawing/2014/main" id="{FC279B6C-08F9-C4C4-99D6-E3631933C24D}"/>
              </a:ext>
            </a:extLst>
          </p:cNvPr>
          <p:cNvGrpSpPr/>
          <p:nvPr userDrawn="1"/>
        </p:nvGrpSpPr>
        <p:grpSpPr>
          <a:xfrm>
            <a:off x="0" y="0"/>
            <a:ext cx="12192000" cy="6858000"/>
            <a:chOff x="0" y="0"/>
            <a:chExt cx="9144000" cy="5143500"/>
          </a:xfrm>
        </p:grpSpPr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92669143-02C7-89F3-CCEC-9D373F741B7C}"/>
                </a:ext>
              </a:extLst>
            </p:cNvPr>
            <p:cNvSpPr/>
            <p:nvPr userDrawn="1"/>
          </p:nvSpPr>
          <p:spPr>
            <a:xfrm>
              <a:off x="0" y="0"/>
              <a:ext cx="180000" cy="51435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2400"/>
            </a:p>
          </p:txBody>
        </p:sp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F32651FC-DCEF-41D4-174E-1E9D962A2D4E}"/>
                </a:ext>
              </a:extLst>
            </p:cNvPr>
            <p:cNvSpPr/>
            <p:nvPr userDrawn="1"/>
          </p:nvSpPr>
          <p:spPr>
            <a:xfrm>
              <a:off x="8964000" y="0"/>
              <a:ext cx="180000" cy="51435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2400"/>
            </a:p>
          </p:txBody>
        </p: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68B8C4E1-F554-0818-DC8D-BF7F90B0ACEC}"/>
                </a:ext>
              </a:extLst>
            </p:cNvPr>
            <p:cNvSpPr/>
            <p:nvPr userDrawn="1"/>
          </p:nvSpPr>
          <p:spPr>
            <a:xfrm rot="5400000">
              <a:off x="4477770" y="-4477770"/>
              <a:ext cx="180000" cy="913554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2400"/>
            </a:p>
          </p:txBody>
        </p:sp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00CF9445-ED0E-26DE-5DF8-4A132F87A76B}"/>
                </a:ext>
              </a:extLst>
            </p:cNvPr>
            <p:cNvSpPr/>
            <p:nvPr userDrawn="1"/>
          </p:nvSpPr>
          <p:spPr>
            <a:xfrm rot="5400000">
              <a:off x="4477770" y="485730"/>
              <a:ext cx="180000" cy="913554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2400"/>
            </a:p>
          </p:txBody>
        </p:sp>
      </p:grpSp>
      <p:pic>
        <p:nvPicPr>
          <p:cNvPr id="7" name="Graphique 6">
            <a:extLst>
              <a:ext uri="{FF2B5EF4-FFF2-40B4-BE49-F238E27FC236}">
                <a16:creationId xmlns:a16="http://schemas.microsoft.com/office/drawing/2014/main" id="{F7EB4864-9F0C-8C63-92EC-15997BBF046F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409245" y="5131948"/>
            <a:ext cx="8782755" cy="1726053"/>
          </a:xfrm>
          <a:prstGeom prst="rect">
            <a:avLst/>
          </a:prstGeom>
        </p:spPr>
      </p:pic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F34AEBE0-3621-4E1A-FBD1-DDBA1DE9439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53195756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51" imgH="351" progId="TCLayout.ActiveDocument.1">
                  <p:embed/>
                </p:oleObj>
              </mc:Choice>
              <mc:Fallback>
                <p:oleObj name="think-cell Slide" r:id="rId5" imgW="351" imgH="351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34AEBE0-3621-4E1A-FBD1-DDBA1DE9439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think-cell data - do not delete" hidden="1">
            <a:extLst>
              <a:ext uri="{FF2B5EF4-FFF2-40B4-BE49-F238E27FC236}">
                <a16:creationId xmlns:a16="http://schemas.microsoft.com/office/drawing/2014/main" id="{2E9D4F9B-61B6-AFF0-2C61-6E0A9BA821FE}"/>
              </a:ext>
            </a:extLst>
          </p:cNvPr>
          <p:cNvPicPr/>
          <p:nvPr/>
        </p:nvPicPr>
        <p:blipFill>
          <a:blip r:embed="rId6"/>
          <a:stretch>
            <a:fillRect/>
          </a:stretch>
        </p:blipFill>
        <p:spPr>
          <a:xfrm>
            <a:off x="2118" y="2118"/>
            <a:ext cx="2117" cy="2117"/>
          </a:xfrm>
          <a:prstGeom prst="rect">
            <a:avLst/>
          </a:prstGeom>
        </p:spPr>
      </p:pic>
      <p:pic>
        <p:nvPicPr>
          <p:cNvPr id="8" name="Graphique 7">
            <a:extLst>
              <a:ext uri="{FF2B5EF4-FFF2-40B4-BE49-F238E27FC236}">
                <a16:creationId xmlns:a16="http://schemas.microsoft.com/office/drawing/2014/main" id="{B884C3B6-8D9D-C2CE-1CCA-F7C747B24504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" y="2"/>
            <a:ext cx="5228735" cy="2784532"/>
          </a:xfrm>
          <a:prstGeom prst="rect">
            <a:avLst/>
          </a:prstGeom>
        </p:spPr>
      </p:pic>
      <p:pic>
        <p:nvPicPr>
          <p:cNvPr id="17" name="Graphic 1">
            <a:extLst>
              <a:ext uri="{FF2B5EF4-FFF2-40B4-BE49-F238E27FC236}">
                <a16:creationId xmlns:a16="http://schemas.microsoft.com/office/drawing/2014/main" id="{F50EADE2-A6F0-7A94-3A12-4B53889335B0}"/>
              </a:ext>
            </a:extLst>
          </p:cNvPr>
          <p:cNvPicPr>
            <a:picLocks noChangeAspect="1"/>
          </p:cNvPicPr>
          <p:nvPr userDrawn="1"/>
        </p:nvPicPr>
        <p:blipFill>
          <a:blip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0165937" y="5823526"/>
            <a:ext cx="1523224" cy="635909"/>
          </a:xfrm>
          <a:prstGeom prst="rect">
            <a:avLst/>
          </a:prstGeom>
        </p:spPr>
      </p:pic>
      <p:sp>
        <p:nvSpPr>
          <p:cNvPr id="2" name="Title 3">
            <a:extLst>
              <a:ext uri="{FF2B5EF4-FFF2-40B4-BE49-F238E27FC236}">
                <a16:creationId xmlns:a16="http://schemas.microsoft.com/office/drawing/2014/main" id="{DD6E448C-3388-416D-E530-AA8C7EC480A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79689" y="3383686"/>
            <a:ext cx="9187688" cy="1625060"/>
          </a:xfrm>
          <a:prstGeom prst="rect">
            <a:avLst/>
          </a:prstGeom>
        </p:spPr>
        <p:txBody>
          <a:bodyPr vert="horz" lIns="0" tIns="0" rIns="0" bIns="0" anchor="t">
            <a:noAutofit/>
          </a:bodyPr>
          <a:lstStyle>
            <a:lvl1pPr rtl="0">
              <a:defRPr sz="5333" b="1" cap="all" baseline="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This is the NAME </a:t>
            </a:r>
            <a:br>
              <a:rPr lang="en-GB" dirty="0"/>
            </a:br>
            <a:r>
              <a:rPr lang="en-GB" dirty="0"/>
              <a:t>of the presentation</a:t>
            </a:r>
            <a:endParaRPr lang="en-GB" noProof="0" dirty="0"/>
          </a:p>
        </p:txBody>
      </p:sp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F9BEBB35-76AD-58DB-1E45-5EE9C78B8DB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179689" y="2943099"/>
            <a:ext cx="9075500" cy="430887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buNone/>
              <a:defRPr sz="2133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date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9D3708AF-22C9-780A-135B-0C4974FB852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179689" y="4847877"/>
            <a:ext cx="9075500" cy="430887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buNone/>
              <a:defRPr sz="2667">
                <a:solidFill>
                  <a:schemeClr val="bg1"/>
                </a:solidFill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This is the subtitle of the presentation</a:t>
            </a:r>
          </a:p>
        </p:txBody>
      </p:sp>
    </p:spTree>
    <p:extLst>
      <p:ext uri="{BB962C8B-B14F-4D97-AF65-F5344CB8AC3E}">
        <p14:creationId xmlns:p14="http://schemas.microsoft.com/office/powerpoint/2010/main" val="192472654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V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: Shape 4">
            <a:extLst>
              <a:ext uri="{FF2B5EF4-FFF2-40B4-BE49-F238E27FC236}">
                <a16:creationId xmlns:a16="http://schemas.microsoft.com/office/drawing/2014/main" id="{085CFD07-9AC1-1C06-4D8E-96936515C91E}"/>
              </a:ext>
            </a:extLst>
          </p:cNvPr>
          <p:cNvSpPr/>
          <p:nvPr userDrawn="1"/>
        </p:nvSpPr>
        <p:spPr>
          <a:xfrm>
            <a:off x="2" y="1"/>
            <a:ext cx="12191999" cy="4892017"/>
          </a:xfrm>
          <a:custGeom>
            <a:avLst/>
            <a:gdLst>
              <a:gd name="connsiteX0" fmla="*/ 0 w 9143999"/>
              <a:gd name="connsiteY0" fmla="*/ 0 h 3669013"/>
              <a:gd name="connsiteX1" fmla="*/ 9143999 w 9143999"/>
              <a:gd name="connsiteY1" fmla="*/ 0 h 3669013"/>
              <a:gd name="connsiteX2" fmla="*/ 9143999 w 9143999"/>
              <a:gd name="connsiteY2" fmla="*/ 1885180 h 3669013"/>
              <a:gd name="connsiteX3" fmla="*/ 0 w 9143999"/>
              <a:gd name="connsiteY3" fmla="*/ 3669013 h 36690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143999" h="3669013">
                <a:moveTo>
                  <a:pt x="0" y="0"/>
                </a:moveTo>
                <a:lnTo>
                  <a:pt x="9143999" y="0"/>
                </a:lnTo>
                <a:lnTo>
                  <a:pt x="9143999" y="1885180"/>
                </a:lnTo>
                <a:lnTo>
                  <a:pt x="0" y="3669013"/>
                </a:lnTo>
                <a:close/>
              </a:path>
            </a:pathLst>
          </a:custGeom>
          <a:solidFill>
            <a:schemeClr val="accent5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rtl="0"/>
            <a:endParaRPr lang="en-GB" sz="2400" dirty="0"/>
          </a:p>
        </p:txBody>
      </p:sp>
      <p:pic>
        <p:nvPicPr>
          <p:cNvPr id="23" name="Graphique 22">
            <a:extLst>
              <a:ext uri="{FF2B5EF4-FFF2-40B4-BE49-F238E27FC236}">
                <a16:creationId xmlns:a16="http://schemas.microsoft.com/office/drawing/2014/main" id="{D972BF98-5D58-0A00-01C7-813554093474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-118667" y="86355"/>
            <a:ext cx="12236556" cy="6664400"/>
          </a:xfrm>
          <a:prstGeom prst="rect">
            <a:avLst/>
          </a:prstGeom>
        </p:spPr>
      </p:pic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0176BD26-CFE7-9939-80BB-B57CFE46D54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70781838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1" imgH="351" progId="TCLayout.ActiveDocument.1">
                  <p:embed/>
                </p:oleObj>
              </mc:Choice>
              <mc:Fallback>
                <p:oleObj name="think-cell Slide" r:id="rId4" imgW="351" imgH="351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76BD26-CFE7-9939-80BB-B57CFE46D54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think-cell data - do not delete" hidden="1">
            <a:extLst>
              <a:ext uri="{FF2B5EF4-FFF2-40B4-BE49-F238E27FC236}">
                <a16:creationId xmlns:a16="http://schemas.microsoft.com/office/drawing/2014/main" id="{BF3A8BA9-F49F-932A-510A-A8038B5C23FB}"/>
              </a:ext>
            </a:extLst>
          </p:cNvPr>
          <p:cNvPicPr/>
          <p:nvPr/>
        </p:nvPicPr>
        <p:blipFill>
          <a:blip r:embed="rId5"/>
          <a:stretch>
            <a:fillRect/>
          </a:stretch>
        </p:blipFill>
        <p:spPr>
          <a:xfrm>
            <a:off x="2118" y="2118"/>
            <a:ext cx="2117" cy="2117"/>
          </a:xfrm>
          <a:prstGeom prst="rect">
            <a:avLst/>
          </a:prstGeom>
        </p:spPr>
      </p:pic>
      <p:pic>
        <p:nvPicPr>
          <p:cNvPr id="8" name="Graphic 2">
            <a:extLst>
              <a:ext uri="{FF2B5EF4-FFF2-40B4-BE49-F238E27FC236}">
                <a16:creationId xmlns:a16="http://schemas.microsoft.com/office/drawing/2014/main" id="{9D9345FF-A142-6D0B-C3C0-6355D93A148C}"/>
              </a:ext>
            </a:extLst>
          </p:cNvPr>
          <p:cNvPicPr>
            <a:picLocks noChangeAspect="1"/>
          </p:cNvPicPr>
          <p:nvPr userDrawn="1"/>
        </p:nvPicPr>
        <p:blipFill>
          <a:blip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66423" y="6258027"/>
            <a:ext cx="779032" cy="325227"/>
          </a:xfrm>
          <a:prstGeom prst="rect">
            <a:avLst/>
          </a:prstGeom>
        </p:spPr>
      </p:pic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7AE2F6C6-96F5-5E62-9B95-0B240E95474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41629" y="6439624"/>
            <a:ext cx="4114800" cy="143629"/>
          </a:xfrm>
          <a:prstGeom prst="rect">
            <a:avLst/>
          </a:prstGeom>
        </p:spPr>
        <p:txBody>
          <a:bodyPr vert="horz" lIns="0" tIns="0" rIns="0" bIns="0" rtlCol="0" anchor="b">
            <a:spAutoFit/>
          </a:bodyPr>
          <a:lstStyle>
            <a:lvl1pPr algn="ctr" rtl="0">
              <a:defRPr sz="933">
                <a:solidFill>
                  <a:schemeClr val="accent1"/>
                </a:solidFill>
              </a:defRPr>
            </a:lvl1pPr>
          </a:lstStyle>
          <a:p>
            <a:r>
              <a:rPr lang="en-GB"/>
              <a:t>THIS IS THE NAME OF THE PRESENTATION</a:t>
            </a:r>
            <a:endParaRPr lang="en-GB" dirty="0"/>
          </a:p>
        </p:txBody>
      </p:sp>
      <p:sp>
        <p:nvSpPr>
          <p:cNvPr id="14" name="Picture Placeholder 3">
            <a:extLst>
              <a:ext uri="{FF2B5EF4-FFF2-40B4-BE49-F238E27FC236}">
                <a16:creationId xmlns:a16="http://schemas.microsoft.com/office/drawing/2014/main" id="{208EE524-3619-DC48-F0FB-6C0ACF60531F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6351344" y="578624"/>
            <a:ext cx="5184000" cy="5520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square" anchor="ctr">
            <a:noAutofit/>
          </a:bodyPr>
          <a:lstStyle>
            <a:lvl1pPr marL="0" indent="0" algn="ctr" rtl="0">
              <a:buNone/>
              <a:defRPr sz="1867">
                <a:solidFill>
                  <a:schemeClr val="accent1"/>
                </a:solidFill>
              </a:defRPr>
            </a:lvl1pPr>
          </a:lstStyle>
          <a:p>
            <a:r>
              <a:rPr lang="en-GB" noProof="0" dirty="0"/>
              <a:t>Insert image</a:t>
            </a:r>
          </a:p>
        </p:txBody>
      </p:sp>
      <p:sp>
        <p:nvSpPr>
          <p:cNvPr id="9" name="Title 3">
            <a:extLst>
              <a:ext uri="{FF2B5EF4-FFF2-40B4-BE49-F238E27FC236}">
                <a16:creationId xmlns:a16="http://schemas.microsoft.com/office/drawing/2014/main" id="{3485C482-ED61-63C3-C9A7-9361BACB448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6656" y="578625"/>
            <a:ext cx="5280000" cy="410369"/>
          </a:xfrm>
          <a:prstGeom prst="rect">
            <a:avLst/>
          </a:prstGeom>
        </p:spPr>
        <p:txBody>
          <a:bodyPr vert="horz" wrap="square" lIns="0" tIns="0" rIns="0" bIns="0" anchor="t">
            <a:spAutoFit/>
          </a:bodyPr>
          <a:lstStyle>
            <a:lvl1pPr rtl="0">
              <a:lnSpc>
                <a:spcPct val="100000"/>
              </a:lnSpc>
              <a:defRPr sz="2667" b="1" cap="all" spc="53" baseline="0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GB" noProof="0" dirty="0"/>
              <a:t>THIS IS THE SLIDE TITLE</a:t>
            </a:r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A824458E-041F-B9A3-7C9C-F5B476C4B2C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58084" y="6434426"/>
            <a:ext cx="315017" cy="143629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 rtl="0">
              <a:defRPr sz="933">
                <a:solidFill>
                  <a:schemeClr val="accent1"/>
                </a:solidFill>
              </a:defRPr>
            </a:lvl1pPr>
          </a:lstStyle>
          <a:p>
            <a:fld id="{809B0AF7-3924-4693-AD32-8215A039798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3" name="Text Placeholder 6">
            <a:extLst>
              <a:ext uri="{FF2B5EF4-FFF2-40B4-BE49-F238E27FC236}">
                <a16:creationId xmlns:a16="http://schemas.microsoft.com/office/drawing/2014/main" id="{FB98ACC0-D24D-61B2-D44D-48FAFE9CE0A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56656" y="1801958"/>
            <a:ext cx="5280000" cy="246221"/>
          </a:xfrm>
          <a:prstGeom prst="rect">
            <a:avLst/>
          </a:prstGeom>
        </p:spPr>
        <p:txBody>
          <a:bodyPr wrap="square" lIns="0" tIns="0" rIns="0" bIns="0" anchor="b"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buNone/>
              <a:defRPr sz="1600" b="1" cap="all" baseline="0">
                <a:gradFill>
                  <a:gsLst>
                    <a:gs pos="0">
                      <a:schemeClr val="accent5"/>
                    </a:gs>
                    <a:gs pos="100000">
                      <a:schemeClr val="accent6"/>
                    </a:gs>
                  </a:gsLst>
                  <a:lin ang="0" scaled="1"/>
                </a:gradFill>
              </a:defRPr>
            </a:lvl1pPr>
          </a:lstStyle>
          <a:p>
            <a:pPr lvl="0"/>
            <a:r>
              <a:rPr lang="en-GB" noProof="0" dirty="0"/>
              <a:t>THIS IS THE TITLE OF A PARAGRAPH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62B3762D-5955-A927-B202-3C32D9FFE2C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56656" y="2132158"/>
            <a:ext cx="5280000" cy="1210588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933"/>
              </a:spcAft>
              <a:buNone/>
              <a:defRPr sz="1333" b="0" spc="-27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noProof="0" dirty="0"/>
              <a:t>Insert text</a:t>
            </a:r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219BBD73-BA27-7906-12EF-14BE7B7A41E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56656" y="3750138"/>
            <a:ext cx="5280000" cy="246221"/>
          </a:xfrm>
          <a:prstGeom prst="rect">
            <a:avLst/>
          </a:prstGeom>
        </p:spPr>
        <p:txBody>
          <a:bodyPr wrap="square" lIns="0" tIns="0" rIns="0" bIns="0" anchor="b"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buNone/>
              <a:defRPr sz="1600" b="1" cap="all" baseline="0">
                <a:gradFill>
                  <a:gsLst>
                    <a:gs pos="0">
                      <a:schemeClr val="accent5"/>
                    </a:gs>
                    <a:gs pos="100000">
                      <a:schemeClr val="accent6"/>
                    </a:gs>
                  </a:gsLst>
                  <a:lin ang="0" scaled="1"/>
                </a:gradFill>
              </a:defRPr>
            </a:lvl1pPr>
          </a:lstStyle>
          <a:p>
            <a:pPr lvl="0"/>
            <a:r>
              <a:rPr lang="en-GB" noProof="0" dirty="0"/>
              <a:t>THIS IS THE TITLE OF A PARAGRAPH</a:t>
            </a:r>
          </a:p>
        </p:txBody>
      </p: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5DBFC158-7781-26D6-F139-B22073916EE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56656" y="4080337"/>
            <a:ext cx="5280000" cy="1412352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933"/>
              </a:spcAft>
              <a:buNone/>
              <a:defRPr sz="1333" b="0" spc="-27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noProof="0" dirty="0"/>
              <a:t>Insert text</a:t>
            </a:r>
          </a:p>
        </p:txBody>
      </p:sp>
    </p:spTree>
    <p:extLst>
      <p:ext uri="{BB962C8B-B14F-4D97-AF65-F5344CB8AC3E}">
        <p14:creationId xmlns:p14="http://schemas.microsoft.com/office/powerpoint/2010/main" val="111557177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V1.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 1">
            <a:extLst>
              <a:ext uri="{FF2B5EF4-FFF2-40B4-BE49-F238E27FC236}">
                <a16:creationId xmlns:a16="http://schemas.microsoft.com/office/drawing/2014/main" id="{9DA5B5E4-8158-E874-ACDB-FE67B208A45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1388"/>
            <a:ext cx="12192000" cy="6858000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550DF799-5BC8-3004-809E-C02B5943E047}"/>
              </a:ext>
            </a:extLst>
          </p:cNvPr>
          <p:cNvSpPr/>
          <p:nvPr userDrawn="1"/>
        </p:nvSpPr>
        <p:spPr>
          <a:xfrm>
            <a:off x="681926" y="1790871"/>
            <a:ext cx="10581860" cy="3838741"/>
          </a:xfrm>
          <a:prstGeom prst="rect">
            <a:avLst/>
          </a:prstGeom>
          <a:gradFill>
            <a:gsLst>
              <a:gs pos="90000">
                <a:schemeClr val="accent1">
                  <a:alpha val="0"/>
                </a:schemeClr>
              </a:gs>
              <a:gs pos="60000">
                <a:schemeClr val="accent1">
                  <a:alpha val="50000"/>
                </a:schemeClr>
              </a:gs>
            </a:gsLst>
            <a:lin ang="2400000" scaled="0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 dirty="0"/>
          </a:p>
        </p:txBody>
      </p:sp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B595A897-5DA8-A92E-E83D-244E3F2822A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5695972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1" imgH="351" progId="TCLayout.ActiveDocument.1">
                  <p:embed/>
                </p:oleObj>
              </mc:Choice>
              <mc:Fallback>
                <p:oleObj name="think-cell Slide" r:id="rId4" imgW="351" imgH="351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595A897-5DA8-A92E-E83D-244E3F2822A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think-cell data - do not delete" hidden="1">
            <a:extLst>
              <a:ext uri="{FF2B5EF4-FFF2-40B4-BE49-F238E27FC236}">
                <a16:creationId xmlns:a16="http://schemas.microsoft.com/office/drawing/2014/main" id="{E7F55198-A94F-1650-C828-1BE0DC1E1E69}"/>
              </a:ext>
            </a:extLst>
          </p:cNvPr>
          <p:cNvPicPr/>
          <p:nvPr/>
        </p:nvPicPr>
        <p:blipFill>
          <a:blip r:embed="rId5"/>
          <a:stretch>
            <a:fillRect/>
          </a:stretch>
        </p:blipFill>
        <p:spPr>
          <a:xfrm>
            <a:off x="2118" y="2118"/>
            <a:ext cx="2117" cy="2117"/>
          </a:xfrm>
          <a:prstGeom prst="rect">
            <a:avLst/>
          </a:prstGeom>
        </p:spPr>
      </p:pic>
      <p:sp>
        <p:nvSpPr>
          <p:cNvPr id="3" name="Text Placeholder 6">
            <a:extLst>
              <a:ext uri="{FF2B5EF4-FFF2-40B4-BE49-F238E27FC236}">
                <a16:creationId xmlns:a16="http://schemas.microsoft.com/office/drawing/2014/main" id="{F7D2FF3C-C760-684B-B4C4-28B2C3A4062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89164" y="3439464"/>
            <a:ext cx="3219253" cy="1399040"/>
          </a:xfrm>
          <a:prstGeom prst="rect">
            <a:avLst/>
          </a:prstGeom>
          <a:ln w="6350">
            <a:noFill/>
          </a:ln>
        </p:spPr>
        <p:txBody>
          <a:bodyPr wrap="square" lIns="0" tIns="0" rIns="0" bIns="0" anchor="t">
            <a:noAutofit/>
          </a:bodyPr>
          <a:lstStyle>
            <a:lvl1pPr marL="0" indent="0" rtl="0">
              <a:lnSpc>
                <a:spcPct val="90000"/>
              </a:lnSpc>
              <a:spcBef>
                <a:spcPts val="0"/>
              </a:spcBef>
              <a:buNone/>
              <a:defRPr sz="2133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This is the pitch of the presentation</a:t>
            </a:r>
          </a:p>
        </p:txBody>
      </p:sp>
      <p:sp>
        <p:nvSpPr>
          <p:cNvPr id="9" name="Title 3">
            <a:extLst>
              <a:ext uri="{FF2B5EF4-FFF2-40B4-BE49-F238E27FC236}">
                <a16:creationId xmlns:a16="http://schemas.microsoft.com/office/drawing/2014/main" id="{4C4CD119-E26C-CC4E-12E8-AF9EE3C7D42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89162" y="1971517"/>
            <a:ext cx="3219253" cy="1218392"/>
          </a:xfrm>
          <a:prstGeom prst="rect">
            <a:avLst/>
          </a:prstGeom>
        </p:spPr>
        <p:txBody>
          <a:bodyPr vert="horz" lIns="0" tIns="0" rIns="0" bIns="0" anchor="t">
            <a:noAutofit/>
          </a:bodyPr>
          <a:lstStyle>
            <a:lvl1pPr rtl="0">
              <a:defRPr sz="2667" b="1" cap="all" baseline="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This is the title </a:t>
            </a:r>
            <a:br>
              <a:rPr lang="en-GB" dirty="0"/>
            </a:br>
            <a:r>
              <a:rPr lang="en-GB" dirty="0"/>
              <a:t>of the presentation</a:t>
            </a:r>
            <a:endParaRPr lang="en-GB" noProof="0" dirty="0"/>
          </a:p>
        </p:txBody>
      </p:sp>
      <p:sp>
        <p:nvSpPr>
          <p:cNvPr id="4" name="Text Placeholder 6">
            <a:extLst>
              <a:ext uri="{FF2B5EF4-FFF2-40B4-BE49-F238E27FC236}">
                <a16:creationId xmlns:a16="http://schemas.microsoft.com/office/drawing/2014/main" id="{A00B97A9-1AB0-46E2-84A5-62C1FC7A15A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89164" y="4983783"/>
            <a:ext cx="3219251" cy="430887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buNone/>
              <a:defRPr sz="1467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speakers</a:t>
            </a:r>
          </a:p>
        </p:txBody>
      </p:sp>
      <p:cxnSp>
        <p:nvCxnSpPr>
          <p:cNvPr id="10" name="Connecteur droit 9">
            <a:extLst>
              <a:ext uri="{FF2B5EF4-FFF2-40B4-BE49-F238E27FC236}">
                <a16:creationId xmlns:a16="http://schemas.microsoft.com/office/drawing/2014/main" id="{15D4F3A0-2BDE-9C10-EFB2-ACC0A5ED1269}"/>
              </a:ext>
            </a:extLst>
          </p:cNvPr>
          <p:cNvCxnSpPr>
            <a:cxnSpLocks/>
          </p:cNvCxnSpPr>
          <p:nvPr userDrawn="1"/>
        </p:nvCxnSpPr>
        <p:spPr>
          <a:xfrm>
            <a:off x="876976" y="4983783"/>
            <a:ext cx="0" cy="44816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6DD3D41F-708D-1ECF-D442-40370A44170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16850" y="3439464"/>
            <a:ext cx="3219253" cy="1399040"/>
          </a:xfrm>
          <a:prstGeom prst="rect">
            <a:avLst/>
          </a:prstGeom>
          <a:ln w="6350">
            <a:noFill/>
          </a:ln>
        </p:spPr>
        <p:txBody>
          <a:bodyPr wrap="square" lIns="0" tIns="0" rIns="0" bIns="0" anchor="t">
            <a:noAutofit/>
          </a:bodyPr>
          <a:lstStyle>
            <a:lvl1pPr marL="0" indent="0" rtl="0">
              <a:lnSpc>
                <a:spcPct val="90000"/>
              </a:lnSpc>
              <a:spcBef>
                <a:spcPts val="0"/>
              </a:spcBef>
              <a:buNone/>
              <a:defRPr sz="2133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This is the pitch of the presentation</a:t>
            </a:r>
          </a:p>
        </p:txBody>
      </p:sp>
      <p:sp>
        <p:nvSpPr>
          <p:cNvPr id="15" name="Text Placeholder 6">
            <a:extLst>
              <a:ext uri="{FF2B5EF4-FFF2-40B4-BE49-F238E27FC236}">
                <a16:creationId xmlns:a16="http://schemas.microsoft.com/office/drawing/2014/main" id="{F85C57B6-E5D2-E64B-8F2E-EB6C887DAA1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16849" y="4983783"/>
            <a:ext cx="3219251" cy="430887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buNone/>
              <a:defRPr sz="1467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speakers</a:t>
            </a:r>
          </a:p>
        </p:txBody>
      </p:sp>
      <p:cxnSp>
        <p:nvCxnSpPr>
          <p:cNvPr id="17" name="Connecteur droit 16">
            <a:extLst>
              <a:ext uri="{FF2B5EF4-FFF2-40B4-BE49-F238E27FC236}">
                <a16:creationId xmlns:a16="http://schemas.microsoft.com/office/drawing/2014/main" id="{3C999711-7792-F865-F17B-EE6220FBF8EF}"/>
              </a:ext>
            </a:extLst>
          </p:cNvPr>
          <p:cNvCxnSpPr>
            <a:cxnSpLocks/>
          </p:cNvCxnSpPr>
          <p:nvPr userDrawn="1"/>
        </p:nvCxnSpPr>
        <p:spPr>
          <a:xfrm>
            <a:off x="4404661" y="4983783"/>
            <a:ext cx="0" cy="44816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1CF5CA26-7434-2044-46B4-540D25C1DF9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044535" y="3439464"/>
            <a:ext cx="3219253" cy="1399040"/>
          </a:xfrm>
          <a:prstGeom prst="rect">
            <a:avLst/>
          </a:prstGeom>
          <a:ln w="6350">
            <a:noFill/>
          </a:ln>
        </p:spPr>
        <p:txBody>
          <a:bodyPr wrap="square" lIns="0" tIns="0" rIns="0" bIns="0" anchor="t">
            <a:noAutofit/>
          </a:bodyPr>
          <a:lstStyle>
            <a:lvl1pPr marL="0" indent="0" rtl="0">
              <a:lnSpc>
                <a:spcPct val="90000"/>
              </a:lnSpc>
              <a:spcBef>
                <a:spcPts val="0"/>
              </a:spcBef>
              <a:buNone/>
              <a:defRPr sz="2133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This is the pitch of the presentation</a:t>
            </a:r>
          </a:p>
        </p:txBody>
      </p:sp>
      <p:sp>
        <p:nvSpPr>
          <p:cNvPr id="20" name="Text Placeholder 6">
            <a:extLst>
              <a:ext uri="{FF2B5EF4-FFF2-40B4-BE49-F238E27FC236}">
                <a16:creationId xmlns:a16="http://schemas.microsoft.com/office/drawing/2014/main" id="{7B0EDB7A-2ADB-4F57-F5A0-7491B41D001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044535" y="4983783"/>
            <a:ext cx="3219251" cy="430887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buNone/>
              <a:defRPr sz="1467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speakers</a:t>
            </a:r>
          </a:p>
        </p:txBody>
      </p:sp>
      <p:cxnSp>
        <p:nvCxnSpPr>
          <p:cNvPr id="8" name="Connecteur droit 7">
            <a:extLst>
              <a:ext uri="{FF2B5EF4-FFF2-40B4-BE49-F238E27FC236}">
                <a16:creationId xmlns:a16="http://schemas.microsoft.com/office/drawing/2014/main" id="{4A8016D3-A975-B68B-9BF4-0497D07EC3CD}"/>
              </a:ext>
            </a:extLst>
          </p:cNvPr>
          <p:cNvCxnSpPr>
            <a:cxnSpLocks/>
          </p:cNvCxnSpPr>
          <p:nvPr userDrawn="1"/>
        </p:nvCxnSpPr>
        <p:spPr>
          <a:xfrm>
            <a:off x="876976" y="1971519"/>
            <a:ext cx="0" cy="2866984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Connecteur droit 15">
            <a:extLst>
              <a:ext uri="{FF2B5EF4-FFF2-40B4-BE49-F238E27FC236}">
                <a16:creationId xmlns:a16="http://schemas.microsoft.com/office/drawing/2014/main" id="{A1ABDD60-FC21-38A0-5097-EAFE14CECCCC}"/>
              </a:ext>
            </a:extLst>
          </p:cNvPr>
          <p:cNvCxnSpPr>
            <a:cxnSpLocks/>
          </p:cNvCxnSpPr>
          <p:nvPr userDrawn="1"/>
        </p:nvCxnSpPr>
        <p:spPr>
          <a:xfrm>
            <a:off x="4404661" y="1971519"/>
            <a:ext cx="0" cy="2866984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Connecteur droit 20">
            <a:extLst>
              <a:ext uri="{FF2B5EF4-FFF2-40B4-BE49-F238E27FC236}">
                <a16:creationId xmlns:a16="http://schemas.microsoft.com/office/drawing/2014/main" id="{0544BAD3-635D-0021-4FD3-9A754CCECE6A}"/>
              </a:ext>
            </a:extLst>
          </p:cNvPr>
          <p:cNvCxnSpPr>
            <a:cxnSpLocks/>
          </p:cNvCxnSpPr>
          <p:nvPr userDrawn="1"/>
        </p:nvCxnSpPr>
        <p:spPr>
          <a:xfrm>
            <a:off x="7932347" y="1971519"/>
            <a:ext cx="0" cy="2866984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Connecteur droit 21">
            <a:extLst>
              <a:ext uri="{FF2B5EF4-FFF2-40B4-BE49-F238E27FC236}">
                <a16:creationId xmlns:a16="http://schemas.microsoft.com/office/drawing/2014/main" id="{891375AB-1D28-69D9-CB7F-AA44787E2F73}"/>
              </a:ext>
            </a:extLst>
          </p:cNvPr>
          <p:cNvCxnSpPr>
            <a:cxnSpLocks/>
          </p:cNvCxnSpPr>
          <p:nvPr userDrawn="1"/>
        </p:nvCxnSpPr>
        <p:spPr>
          <a:xfrm>
            <a:off x="7932347" y="4983783"/>
            <a:ext cx="0" cy="44816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 Placeholder 6">
            <a:extLst>
              <a:ext uri="{FF2B5EF4-FFF2-40B4-BE49-F238E27FC236}">
                <a16:creationId xmlns:a16="http://schemas.microsoft.com/office/drawing/2014/main" id="{91EF2F2D-75F1-568D-4FCE-96A2A2C354FC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558878" y="1971517"/>
            <a:ext cx="3219253" cy="1218392"/>
          </a:xfrm>
          <a:prstGeom prst="rect">
            <a:avLst/>
          </a:prstGeom>
          <a:ln w="6350">
            <a:noFill/>
          </a:ln>
        </p:spPr>
        <p:txBody>
          <a:bodyPr wrap="square" lIns="0" tIns="0" rIns="0" bIns="0" anchor="t">
            <a:noAutofit/>
          </a:bodyPr>
          <a:lstStyle>
            <a:lvl1pPr marL="0" indent="0" rtl="0">
              <a:lnSpc>
                <a:spcPct val="90000"/>
              </a:lnSpc>
              <a:spcBef>
                <a:spcPts val="0"/>
              </a:spcBef>
              <a:buNone/>
              <a:defRPr sz="2667" b="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THIS IS THE PITCH OF THE PRESENTATION</a:t>
            </a:r>
          </a:p>
        </p:txBody>
      </p:sp>
      <p:sp>
        <p:nvSpPr>
          <p:cNvPr id="24" name="Text Placeholder 6">
            <a:extLst>
              <a:ext uri="{FF2B5EF4-FFF2-40B4-BE49-F238E27FC236}">
                <a16:creationId xmlns:a16="http://schemas.microsoft.com/office/drawing/2014/main" id="{EAEEC5FA-3B82-5E31-A941-6B3D3BBC865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057967" y="1971517"/>
            <a:ext cx="3219253" cy="1218392"/>
          </a:xfrm>
          <a:prstGeom prst="rect">
            <a:avLst/>
          </a:prstGeom>
          <a:ln w="6350">
            <a:noFill/>
          </a:ln>
        </p:spPr>
        <p:txBody>
          <a:bodyPr wrap="square" lIns="0" tIns="0" rIns="0" bIns="0" anchor="t">
            <a:noAutofit/>
          </a:bodyPr>
          <a:lstStyle>
            <a:lvl1pPr marL="0" indent="0" rtl="0">
              <a:lnSpc>
                <a:spcPct val="90000"/>
              </a:lnSpc>
              <a:spcBef>
                <a:spcPts val="0"/>
              </a:spcBef>
              <a:buNone/>
              <a:defRPr sz="2667" b="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THIS IS THE PITCH OF THE PRESENTATION</a:t>
            </a:r>
          </a:p>
        </p:txBody>
      </p:sp>
      <p:pic>
        <p:nvPicPr>
          <p:cNvPr id="13" name="Graphic 2">
            <a:extLst>
              <a:ext uri="{FF2B5EF4-FFF2-40B4-BE49-F238E27FC236}">
                <a16:creationId xmlns:a16="http://schemas.microsoft.com/office/drawing/2014/main" id="{D9A10CEB-E432-2AD3-FD2D-F69812B82437}"/>
              </a:ext>
            </a:extLst>
          </p:cNvPr>
          <p:cNvPicPr>
            <a:picLocks noChangeAspect="1"/>
          </p:cNvPicPr>
          <p:nvPr userDrawn="1"/>
        </p:nvPicPr>
        <p:blipFill>
          <a:blip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165937" y="5823526"/>
            <a:ext cx="1523224" cy="6359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0864907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V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Image 17">
            <a:extLst>
              <a:ext uri="{FF2B5EF4-FFF2-40B4-BE49-F238E27FC236}">
                <a16:creationId xmlns:a16="http://schemas.microsoft.com/office/drawing/2014/main" id="{1DD395D2-8B33-7526-7DEB-A1EF99C28A1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1388"/>
            <a:ext cx="12192000" cy="6858000"/>
          </a:xfrm>
          <a:prstGeom prst="rect">
            <a:avLst/>
          </a:prstGeom>
        </p:spPr>
      </p:pic>
      <p:pic>
        <p:nvPicPr>
          <p:cNvPr id="4" name="Graphique 3">
            <a:extLst>
              <a:ext uri="{FF2B5EF4-FFF2-40B4-BE49-F238E27FC236}">
                <a16:creationId xmlns:a16="http://schemas.microsoft.com/office/drawing/2014/main" id="{193C85FD-8CBA-B170-1B0D-A4E398403973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-1" y="0"/>
            <a:ext cx="12192001" cy="4080933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E9CB483D-BF55-7419-41D7-990AED5BF774}"/>
              </a:ext>
            </a:extLst>
          </p:cNvPr>
          <p:cNvSpPr/>
          <p:nvPr userDrawn="1"/>
        </p:nvSpPr>
        <p:spPr>
          <a:xfrm>
            <a:off x="235528" y="-3465"/>
            <a:ext cx="11720945" cy="667991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GB" sz="1067" noProof="0" dirty="0"/>
          </a:p>
        </p:txBody>
      </p:sp>
      <p:graphicFrame>
        <p:nvGraphicFramePr>
          <p:cNvPr id="11" name="think-cell data - do not delete" hidden="1">
            <a:extLst>
              <a:ext uri="{FF2B5EF4-FFF2-40B4-BE49-F238E27FC236}">
                <a16:creationId xmlns:a16="http://schemas.microsoft.com/office/drawing/2014/main" id="{7D32B16D-4B85-C1B8-42C4-08A0D35E077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49171423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51" imgH="351" progId="TCLayout.ActiveDocument.1">
                  <p:embed/>
                </p:oleObj>
              </mc:Choice>
              <mc:Fallback>
                <p:oleObj name="think-cell Slide" r:id="rId5" imgW="351" imgH="351" progId="TCLayout.ActiveDocument.1">
                  <p:embed/>
                  <p:pic>
                    <p:nvPicPr>
                      <p:cNvPr id="1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D32B16D-4B85-C1B8-42C4-08A0D35E077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think-cell data - do not delete" hidden="1">
            <a:extLst>
              <a:ext uri="{FF2B5EF4-FFF2-40B4-BE49-F238E27FC236}">
                <a16:creationId xmlns:a16="http://schemas.microsoft.com/office/drawing/2014/main" id="{6FA17896-290A-BE0E-9B85-8CE32080AD5E}"/>
              </a:ext>
            </a:extLst>
          </p:cNvPr>
          <p:cNvPicPr/>
          <p:nvPr/>
        </p:nvPicPr>
        <p:blipFill>
          <a:blip r:embed="rId6"/>
          <a:stretch>
            <a:fillRect/>
          </a:stretch>
        </p:blipFill>
        <p:spPr>
          <a:xfrm>
            <a:off x="2118" y="2118"/>
            <a:ext cx="2117" cy="2117"/>
          </a:xfrm>
          <a:prstGeom prst="rect">
            <a:avLst/>
          </a:prstGeom>
        </p:spPr>
      </p:pic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6C0D50FC-2B4B-AA9B-447B-8EC96228BC0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81742" y="2420732"/>
            <a:ext cx="1116065" cy="738664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0" indent="0" algn="ctr" rtl="0">
              <a:lnSpc>
                <a:spcPct val="100000"/>
              </a:lnSpc>
              <a:spcBef>
                <a:spcPts val="0"/>
              </a:spcBef>
              <a:buNone/>
              <a:defRPr sz="4800" b="1">
                <a:solidFill>
                  <a:schemeClr val="accent5"/>
                </a:solidFill>
              </a:defRPr>
            </a:lvl1pPr>
          </a:lstStyle>
          <a:p>
            <a:pPr lvl="0"/>
            <a:r>
              <a:rPr lang="en-GB" noProof="0" dirty="0"/>
              <a:t>XX</a:t>
            </a: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15314487-FD47-3B51-7125-D07E25566FC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063177" y="2742508"/>
            <a:ext cx="3360000" cy="307776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0" indent="0" algn="l" rtl="0">
              <a:lnSpc>
                <a:spcPct val="100000"/>
              </a:lnSpc>
              <a:spcBef>
                <a:spcPts val="0"/>
              </a:spcBef>
              <a:buNone/>
              <a:defRPr sz="20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noProof="0" dirty="0"/>
              <a:t>Insert text</a:t>
            </a:r>
          </a:p>
        </p:txBody>
      </p: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94068E03-A248-B468-539D-B0F0B7060BA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81742" y="3362928"/>
            <a:ext cx="1116065" cy="738664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0" indent="0" algn="ctr" rtl="0">
              <a:lnSpc>
                <a:spcPct val="100000"/>
              </a:lnSpc>
              <a:spcBef>
                <a:spcPts val="0"/>
              </a:spcBef>
              <a:buNone/>
              <a:defRPr sz="4800" b="1">
                <a:solidFill>
                  <a:schemeClr val="accent5"/>
                </a:solidFill>
              </a:defRPr>
            </a:lvl1pPr>
          </a:lstStyle>
          <a:p>
            <a:pPr lvl="0"/>
            <a:r>
              <a:rPr lang="en-GB" noProof="0" dirty="0"/>
              <a:t>XX</a:t>
            </a:r>
          </a:p>
        </p:txBody>
      </p: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AAAE448C-FE76-336A-EFEA-01DA0DA6581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063177" y="3684703"/>
            <a:ext cx="3360000" cy="307776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0" indent="0" algn="l" rtl="0">
              <a:lnSpc>
                <a:spcPct val="100000"/>
              </a:lnSpc>
              <a:spcBef>
                <a:spcPts val="0"/>
              </a:spcBef>
              <a:buNone/>
              <a:defRPr sz="20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noProof="0" dirty="0"/>
              <a:t>Insert text</a:t>
            </a:r>
          </a:p>
        </p:txBody>
      </p:sp>
      <p:sp>
        <p:nvSpPr>
          <p:cNvPr id="15" name="Text Placeholder 6">
            <a:extLst>
              <a:ext uri="{FF2B5EF4-FFF2-40B4-BE49-F238E27FC236}">
                <a16:creationId xmlns:a16="http://schemas.microsoft.com/office/drawing/2014/main" id="{68D56FCD-7A64-9FA8-F606-99B86C6F780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81742" y="4305123"/>
            <a:ext cx="1116065" cy="738664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0" indent="0" algn="ctr" rtl="0">
              <a:lnSpc>
                <a:spcPct val="100000"/>
              </a:lnSpc>
              <a:spcBef>
                <a:spcPts val="0"/>
              </a:spcBef>
              <a:buNone/>
              <a:defRPr sz="4800" b="1">
                <a:solidFill>
                  <a:schemeClr val="accent5"/>
                </a:solidFill>
              </a:defRPr>
            </a:lvl1pPr>
          </a:lstStyle>
          <a:p>
            <a:pPr lvl="0"/>
            <a:r>
              <a:rPr lang="en-GB" noProof="0" dirty="0"/>
              <a:t>XX</a:t>
            </a:r>
          </a:p>
        </p:txBody>
      </p:sp>
      <p:sp>
        <p:nvSpPr>
          <p:cNvPr id="16" name="Text Placeholder 6">
            <a:extLst>
              <a:ext uri="{FF2B5EF4-FFF2-40B4-BE49-F238E27FC236}">
                <a16:creationId xmlns:a16="http://schemas.microsoft.com/office/drawing/2014/main" id="{487E9D35-5CF1-D530-B14E-BF2306C597A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063177" y="4626899"/>
            <a:ext cx="3360000" cy="307776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0" indent="0" algn="l" rtl="0">
              <a:lnSpc>
                <a:spcPct val="100000"/>
              </a:lnSpc>
              <a:spcBef>
                <a:spcPts val="0"/>
              </a:spcBef>
              <a:buNone/>
              <a:defRPr sz="20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noProof="0" dirty="0"/>
              <a:t>Insert text</a:t>
            </a:r>
          </a:p>
        </p:txBody>
      </p:sp>
      <p:sp>
        <p:nvSpPr>
          <p:cNvPr id="28" name="Text Placeholder 6">
            <a:extLst>
              <a:ext uri="{FF2B5EF4-FFF2-40B4-BE49-F238E27FC236}">
                <a16:creationId xmlns:a16="http://schemas.microsoft.com/office/drawing/2014/main" id="{E8CDED56-140D-E1D7-64CC-9912A7BB72A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918920" y="2420732"/>
            <a:ext cx="1116065" cy="738664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0" indent="0" algn="ctr" rtl="0">
              <a:lnSpc>
                <a:spcPct val="100000"/>
              </a:lnSpc>
              <a:spcBef>
                <a:spcPts val="0"/>
              </a:spcBef>
              <a:buNone/>
              <a:defRPr sz="4800" b="1">
                <a:solidFill>
                  <a:schemeClr val="accent5"/>
                </a:solidFill>
              </a:defRPr>
            </a:lvl1pPr>
          </a:lstStyle>
          <a:p>
            <a:pPr lvl="0"/>
            <a:r>
              <a:rPr lang="en-GB" noProof="0" dirty="0"/>
              <a:t>XX</a:t>
            </a:r>
          </a:p>
        </p:txBody>
      </p:sp>
      <p:sp>
        <p:nvSpPr>
          <p:cNvPr id="29" name="Text Placeholder 6">
            <a:extLst>
              <a:ext uri="{FF2B5EF4-FFF2-40B4-BE49-F238E27FC236}">
                <a16:creationId xmlns:a16="http://schemas.microsoft.com/office/drawing/2014/main" id="{2C010762-D2E7-9C3C-6C5A-95C2BD2DA6D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100355" y="2742508"/>
            <a:ext cx="3360000" cy="307776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0" indent="0" algn="l" rtl="0">
              <a:lnSpc>
                <a:spcPct val="100000"/>
              </a:lnSpc>
              <a:spcBef>
                <a:spcPts val="0"/>
              </a:spcBef>
              <a:buNone/>
              <a:defRPr sz="20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noProof="0" dirty="0"/>
              <a:t>Insert text</a:t>
            </a:r>
          </a:p>
        </p:txBody>
      </p:sp>
      <p:sp>
        <p:nvSpPr>
          <p:cNvPr id="30" name="Text Placeholder 6">
            <a:extLst>
              <a:ext uri="{FF2B5EF4-FFF2-40B4-BE49-F238E27FC236}">
                <a16:creationId xmlns:a16="http://schemas.microsoft.com/office/drawing/2014/main" id="{359BE356-8DE0-B0AE-6553-E00BC408684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918920" y="3362928"/>
            <a:ext cx="1116065" cy="738664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0" indent="0" algn="ctr" rtl="0">
              <a:lnSpc>
                <a:spcPct val="100000"/>
              </a:lnSpc>
              <a:spcBef>
                <a:spcPts val="0"/>
              </a:spcBef>
              <a:buNone/>
              <a:defRPr sz="4800" b="1">
                <a:solidFill>
                  <a:schemeClr val="accent5"/>
                </a:solidFill>
              </a:defRPr>
            </a:lvl1pPr>
          </a:lstStyle>
          <a:p>
            <a:pPr lvl="0"/>
            <a:r>
              <a:rPr lang="en-GB" noProof="0" dirty="0"/>
              <a:t>XX</a:t>
            </a:r>
          </a:p>
        </p:txBody>
      </p:sp>
      <p:sp>
        <p:nvSpPr>
          <p:cNvPr id="31" name="Text Placeholder 6">
            <a:extLst>
              <a:ext uri="{FF2B5EF4-FFF2-40B4-BE49-F238E27FC236}">
                <a16:creationId xmlns:a16="http://schemas.microsoft.com/office/drawing/2014/main" id="{79B9C795-07A7-F5B0-A1C4-28ED7B25831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100355" y="3684703"/>
            <a:ext cx="3360000" cy="307776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0" indent="0" algn="l" rtl="0">
              <a:lnSpc>
                <a:spcPct val="100000"/>
              </a:lnSpc>
              <a:spcBef>
                <a:spcPts val="0"/>
              </a:spcBef>
              <a:buNone/>
              <a:defRPr sz="20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noProof="0" dirty="0"/>
              <a:t>Insert text</a:t>
            </a:r>
          </a:p>
        </p:txBody>
      </p:sp>
      <p:sp>
        <p:nvSpPr>
          <p:cNvPr id="32" name="Text Placeholder 6">
            <a:extLst>
              <a:ext uri="{FF2B5EF4-FFF2-40B4-BE49-F238E27FC236}">
                <a16:creationId xmlns:a16="http://schemas.microsoft.com/office/drawing/2014/main" id="{E3D58B27-722B-58F2-5AA1-19B306CB1E60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918920" y="4305123"/>
            <a:ext cx="1116065" cy="738664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0" indent="0" algn="ctr" rtl="0">
              <a:lnSpc>
                <a:spcPct val="100000"/>
              </a:lnSpc>
              <a:spcBef>
                <a:spcPts val="0"/>
              </a:spcBef>
              <a:buNone/>
              <a:defRPr sz="4800" b="1">
                <a:solidFill>
                  <a:schemeClr val="accent5"/>
                </a:solidFill>
              </a:defRPr>
            </a:lvl1pPr>
          </a:lstStyle>
          <a:p>
            <a:pPr lvl="0"/>
            <a:r>
              <a:rPr lang="en-GB" noProof="0" dirty="0"/>
              <a:t>XX</a:t>
            </a:r>
          </a:p>
        </p:txBody>
      </p:sp>
      <p:sp>
        <p:nvSpPr>
          <p:cNvPr id="33" name="Text Placeholder 6">
            <a:extLst>
              <a:ext uri="{FF2B5EF4-FFF2-40B4-BE49-F238E27FC236}">
                <a16:creationId xmlns:a16="http://schemas.microsoft.com/office/drawing/2014/main" id="{50D83805-266B-A88A-5CEC-20807C3D6010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100355" y="4626899"/>
            <a:ext cx="3360000" cy="307776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0" indent="0" algn="l" rtl="0">
              <a:lnSpc>
                <a:spcPct val="100000"/>
              </a:lnSpc>
              <a:spcBef>
                <a:spcPts val="0"/>
              </a:spcBef>
              <a:buNone/>
              <a:defRPr sz="20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noProof="0" dirty="0"/>
              <a:t>Insert text</a:t>
            </a:r>
          </a:p>
        </p:txBody>
      </p:sp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F70062FC-29EF-F022-D0DC-CB93D45276F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41629" y="6439624"/>
            <a:ext cx="4114800" cy="143629"/>
          </a:xfrm>
          <a:prstGeom prst="rect">
            <a:avLst/>
          </a:prstGeom>
        </p:spPr>
        <p:txBody>
          <a:bodyPr vert="horz" lIns="0" tIns="0" rIns="0" bIns="0" rtlCol="0" anchor="b">
            <a:spAutoFit/>
          </a:bodyPr>
          <a:lstStyle>
            <a:lvl1pPr algn="ctr" rtl="0">
              <a:defRPr sz="933">
                <a:solidFill>
                  <a:schemeClr val="accent1"/>
                </a:solidFill>
              </a:defRPr>
            </a:lvl1pPr>
          </a:lstStyle>
          <a:p>
            <a:r>
              <a:rPr lang="en-GB"/>
              <a:t>THIS IS THE NAME OF THE PRESENTATION</a:t>
            </a:r>
            <a:endParaRPr lang="en-GB" dirty="0"/>
          </a:p>
        </p:txBody>
      </p:sp>
      <p:pic>
        <p:nvPicPr>
          <p:cNvPr id="10" name="Graphic 2">
            <a:extLst>
              <a:ext uri="{FF2B5EF4-FFF2-40B4-BE49-F238E27FC236}">
                <a16:creationId xmlns:a16="http://schemas.microsoft.com/office/drawing/2014/main" id="{D6859D90-35C3-1BCF-CB87-DAAE382F9FB8}"/>
              </a:ext>
            </a:extLst>
          </p:cNvPr>
          <p:cNvPicPr>
            <a:picLocks noChangeAspect="1"/>
          </p:cNvPicPr>
          <p:nvPr userDrawn="1"/>
        </p:nvPicPr>
        <p:blipFill>
          <a:blip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966423" y="6258027"/>
            <a:ext cx="779032" cy="325227"/>
          </a:xfrm>
          <a:prstGeom prst="rect">
            <a:avLst/>
          </a:prstGeom>
        </p:spPr>
      </p:pic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D1C177F-80CE-9587-08D1-3B379343A72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58084" y="6434426"/>
            <a:ext cx="315017" cy="143629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 rtl="0">
              <a:defRPr sz="933">
                <a:solidFill>
                  <a:schemeClr val="accent1"/>
                </a:solidFill>
              </a:defRPr>
            </a:lvl1pPr>
          </a:lstStyle>
          <a:p>
            <a:fld id="{809B0AF7-3924-4693-AD32-8215A0397987}" type="slidenum">
              <a:rPr lang="en-GB" smtClean="0"/>
              <a:pPr/>
              <a:t>‹#›</a:t>
            </a:fld>
            <a:endParaRPr lang="en-GB" dirty="0"/>
          </a:p>
        </p:txBody>
      </p:sp>
      <p:grpSp>
        <p:nvGrpSpPr>
          <p:cNvPr id="19" name="Image 20">
            <a:extLst>
              <a:ext uri="{FF2B5EF4-FFF2-40B4-BE49-F238E27FC236}">
                <a16:creationId xmlns:a16="http://schemas.microsoft.com/office/drawing/2014/main" id="{1DCD261F-2E32-C3D3-369A-0DF86B17A66D}"/>
              </a:ext>
            </a:extLst>
          </p:cNvPr>
          <p:cNvGrpSpPr/>
          <p:nvPr userDrawn="1"/>
        </p:nvGrpSpPr>
        <p:grpSpPr>
          <a:xfrm>
            <a:off x="919519" y="763629"/>
            <a:ext cx="4644008" cy="692536"/>
            <a:chOff x="689639" y="572722"/>
            <a:chExt cx="3483006" cy="519402"/>
          </a:xfrm>
          <a:gradFill>
            <a:gsLst>
              <a:gs pos="0">
                <a:schemeClr val="accent5"/>
              </a:gs>
              <a:gs pos="100000">
                <a:schemeClr val="accent1"/>
              </a:gs>
            </a:gsLst>
            <a:lin ang="0" scaled="1"/>
          </a:gradFill>
        </p:grpSpPr>
        <p:sp>
          <p:nvSpPr>
            <p:cNvPr id="20" name="Forme libre 19">
              <a:extLst>
                <a:ext uri="{FF2B5EF4-FFF2-40B4-BE49-F238E27FC236}">
                  <a16:creationId xmlns:a16="http://schemas.microsoft.com/office/drawing/2014/main" id="{9C73100C-DC1B-C24B-C6B6-20579100FE39}"/>
                </a:ext>
              </a:extLst>
            </p:cNvPr>
            <p:cNvSpPr/>
            <p:nvPr/>
          </p:nvSpPr>
          <p:spPr>
            <a:xfrm>
              <a:off x="689639" y="578164"/>
              <a:ext cx="355303" cy="503773"/>
            </a:xfrm>
            <a:custGeom>
              <a:avLst/>
              <a:gdLst>
                <a:gd name="connsiteX0" fmla="*/ 354501 w 355303"/>
                <a:gd name="connsiteY0" fmla="*/ 29861 h 503773"/>
                <a:gd name="connsiteX1" fmla="*/ 344316 w 355303"/>
                <a:gd name="connsiteY1" fmla="*/ 33931 h 503773"/>
                <a:gd name="connsiteX2" fmla="*/ 252008 w 355303"/>
                <a:gd name="connsiteY2" fmla="*/ 15605 h 503773"/>
                <a:gd name="connsiteX3" fmla="*/ 33443 w 355303"/>
                <a:gd name="connsiteY3" fmla="*/ 154800 h 503773"/>
                <a:gd name="connsiteX4" fmla="*/ 33443 w 355303"/>
                <a:gd name="connsiteY4" fmla="*/ 348973 h 503773"/>
                <a:gd name="connsiteX5" fmla="*/ 252008 w 355303"/>
                <a:gd name="connsiteY5" fmla="*/ 488168 h 503773"/>
                <a:gd name="connsiteX6" fmla="*/ 344316 w 355303"/>
                <a:gd name="connsiteY6" fmla="*/ 469842 h 503773"/>
                <a:gd name="connsiteX7" fmla="*/ 354501 w 355303"/>
                <a:gd name="connsiteY7" fmla="*/ 473912 h 503773"/>
                <a:gd name="connsiteX8" fmla="*/ 350432 w 355303"/>
                <a:gd name="connsiteY8" fmla="*/ 484773 h 503773"/>
                <a:gd name="connsiteX9" fmla="*/ 252008 w 355303"/>
                <a:gd name="connsiteY9" fmla="*/ 503773 h 503773"/>
                <a:gd name="connsiteX10" fmla="*/ 19863 w 355303"/>
                <a:gd name="connsiteY10" fmla="*/ 355091 h 503773"/>
                <a:gd name="connsiteX11" fmla="*/ 19863 w 355303"/>
                <a:gd name="connsiteY11" fmla="*/ 149382 h 503773"/>
                <a:gd name="connsiteX12" fmla="*/ 252008 w 355303"/>
                <a:gd name="connsiteY12" fmla="*/ 0 h 503773"/>
                <a:gd name="connsiteX13" fmla="*/ 350432 w 355303"/>
                <a:gd name="connsiteY13" fmla="*/ 19700 h 503773"/>
                <a:gd name="connsiteX14" fmla="*/ 354501 w 355303"/>
                <a:gd name="connsiteY14" fmla="*/ 29886 h 503773"/>
                <a:gd name="connsiteX15" fmla="*/ 341620 w 355303"/>
                <a:gd name="connsiteY15" fmla="*/ 374091 h 503773"/>
                <a:gd name="connsiteX16" fmla="*/ 338899 w 355303"/>
                <a:gd name="connsiteY16" fmla="*/ 384278 h 503773"/>
                <a:gd name="connsiteX17" fmla="*/ 252008 w 355303"/>
                <a:gd name="connsiteY17" fmla="*/ 406000 h 503773"/>
                <a:gd name="connsiteX18" fmla="*/ 113545 w 355303"/>
                <a:gd name="connsiteY18" fmla="*/ 315017 h 503773"/>
                <a:gd name="connsiteX19" fmla="*/ 113545 w 355303"/>
                <a:gd name="connsiteY19" fmla="*/ 189405 h 503773"/>
                <a:gd name="connsiteX20" fmla="*/ 252008 w 355303"/>
                <a:gd name="connsiteY20" fmla="*/ 97749 h 503773"/>
                <a:gd name="connsiteX21" fmla="*/ 338899 w 355303"/>
                <a:gd name="connsiteY21" fmla="*/ 119470 h 503773"/>
                <a:gd name="connsiteX22" fmla="*/ 341620 w 355303"/>
                <a:gd name="connsiteY22" fmla="*/ 130331 h 503773"/>
                <a:gd name="connsiteX23" fmla="*/ 331436 w 355303"/>
                <a:gd name="connsiteY23" fmla="*/ 133053 h 503773"/>
                <a:gd name="connsiteX24" fmla="*/ 252008 w 355303"/>
                <a:gd name="connsiteY24" fmla="*/ 113353 h 503773"/>
                <a:gd name="connsiteX25" fmla="*/ 127798 w 355303"/>
                <a:gd name="connsiteY25" fmla="*/ 194823 h 503773"/>
                <a:gd name="connsiteX26" fmla="*/ 127798 w 355303"/>
                <a:gd name="connsiteY26" fmla="*/ 309574 h 503773"/>
                <a:gd name="connsiteX27" fmla="*/ 252008 w 355303"/>
                <a:gd name="connsiteY27" fmla="*/ 391044 h 503773"/>
                <a:gd name="connsiteX28" fmla="*/ 331436 w 355303"/>
                <a:gd name="connsiteY28" fmla="*/ 370670 h 503773"/>
                <a:gd name="connsiteX29" fmla="*/ 341620 w 355303"/>
                <a:gd name="connsiteY29" fmla="*/ 374066 h 5037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355303" h="503773">
                  <a:moveTo>
                    <a:pt x="354501" y="29861"/>
                  </a:moveTo>
                  <a:cubicBezTo>
                    <a:pt x="353153" y="33931"/>
                    <a:pt x="347711" y="35279"/>
                    <a:pt x="344316" y="33931"/>
                  </a:cubicBezTo>
                  <a:cubicBezTo>
                    <a:pt x="315136" y="21697"/>
                    <a:pt x="283909" y="15605"/>
                    <a:pt x="252008" y="15605"/>
                  </a:cubicBezTo>
                  <a:cubicBezTo>
                    <a:pt x="137982" y="15605"/>
                    <a:pt x="65344" y="77400"/>
                    <a:pt x="33443" y="154800"/>
                  </a:cubicBezTo>
                  <a:cubicBezTo>
                    <a:pt x="9005" y="216595"/>
                    <a:pt x="9005" y="287878"/>
                    <a:pt x="33443" y="348973"/>
                  </a:cubicBezTo>
                  <a:cubicBezTo>
                    <a:pt x="65344" y="427722"/>
                    <a:pt x="137982" y="488168"/>
                    <a:pt x="252008" y="488168"/>
                  </a:cubicBezTo>
                  <a:cubicBezTo>
                    <a:pt x="283909" y="488168"/>
                    <a:pt x="315136" y="482725"/>
                    <a:pt x="344316" y="469842"/>
                  </a:cubicBezTo>
                  <a:cubicBezTo>
                    <a:pt x="347711" y="468494"/>
                    <a:pt x="353153" y="470516"/>
                    <a:pt x="354501" y="473912"/>
                  </a:cubicBezTo>
                  <a:cubicBezTo>
                    <a:pt x="356547" y="478656"/>
                    <a:pt x="354501" y="482750"/>
                    <a:pt x="350432" y="484773"/>
                  </a:cubicBezTo>
                  <a:cubicBezTo>
                    <a:pt x="319205" y="497681"/>
                    <a:pt x="285956" y="503773"/>
                    <a:pt x="252008" y="503773"/>
                  </a:cubicBezTo>
                  <a:cubicBezTo>
                    <a:pt x="131193" y="503773"/>
                    <a:pt x="53811" y="438607"/>
                    <a:pt x="19863" y="355091"/>
                  </a:cubicBezTo>
                  <a:cubicBezTo>
                    <a:pt x="-6621" y="289900"/>
                    <a:pt x="-6621" y="213873"/>
                    <a:pt x="19863" y="149382"/>
                  </a:cubicBezTo>
                  <a:cubicBezTo>
                    <a:pt x="53811" y="65166"/>
                    <a:pt x="131193" y="0"/>
                    <a:pt x="252008" y="0"/>
                  </a:cubicBezTo>
                  <a:cubicBezTo>
                    <a:pt x="285956" y="0"/>
                    <a:pt x="319205" y="6791"/>
                    <a:pt x="350432" y="19700"/>
                  </a:cubicBezTo>
                  <a:cubicBezTo>
                    <a:pt x="354501" y="21048"/>
                    <a:pt x="355848" y="25817"/>
                    <a:pt x="354501" y="29886"/>
                  </a:cubicBezTo>
                  <a:close/>
                  <a:moveTo>
                    <a:pt x="341620" y="374091"/>
                  </a:moveTo>
                  <a:cubicBezTo>
                    <a:pt x="343667" y="377487"/>
                    <a:pt x="342294" y="382230"/>
                    <a:pt x="338899" y="384278"/>
                  </a:cubicBezTo>
                  <a:cubicBezTo>
                    <a:pt x="309719" y="400582"/>
                    <a:pt x="285282" y="406000"/>
                    <a:pt x="252008" y="406000"/>
                  </a:cubicBezTo>
                  <a:cubicBezTo>
                    <a:pt x="180068" y="406000"/>
                    <a:pt x="133215" y="366626"/>
                    <a:pt x="113545" y="315017"/>
                  </a:cubicBezTo>
                  <a:cubicBezTo>
                    <a:pt x="97944" y="274969"/>
                    <a:pt x="97944" y="228804"/>
                    <a:pt x="113545" y="189405"/>
                  </a:cubicBezTo>
                  <a:cubicBezTo>
                    <a:pt x="133240" y="137797"/>
                    <a:pt x="180068" y="97749"/>
                    <a:pt x="252008" y="97749"/>
                  </a:cubicBezTo>
                  <a:cubicBezTo>
                    <a:pt x="285257" y="97749"/>
                    <a:pt x="309694" y="103191"/>
                    <a:pt x="338899" y="119470"/>
                  </a:cubicBezTo>
                  <a:cubicBezTo>
                    <a:pt x="342294" y="121518"/>
                    <a:pt x="343642" y="126262"/>
                    <a:pt x="341620" y="130331"/>
                  </a:cubicBezTo>
                  <a:cubicBezTo>
                    <a:pt x="339573" y="133727"/>
                    <a:pt x="335505" y="135075"/>
                    <a:pt x="331436" y="133053"/>
                  </a:cubicBezTo>
                  <a:cubicBezTo>
                    <a:pt x="304951" y="118796"/>
                    <a:pt x="282561" y="113353"/>
                    <a:pt x="252008" y="113353"/>
                  </a:cubicBezTo>
                  <a:cubicBezTo>
                    <a:pt x="186832" y="113353"/>
                    <a:pt x="146120" y="149332"/>
                    <a:pt x="127798" y="194823"/>
                  </a:cubicBezTo>
                  <a:cubicBezTo>
                    <a:pt x="113545" y="230801"/>
                    <a:pt x="113545" y="273571"/>
                    <a:pt x="127798" y="309574"/>
                  </a:cubicBezTo>
                  <a:cubicBezTo>
                    <a:pt x="146120" y="355740"/>
                    <a:pt x="186857" y="391044"/>
                    <a:pt x="252008" y="391044"/>
                  </a:cubicBezTo>
                  <a:cubicBezTo>
                    <a:pt x="282561" y="391044"/>
                    <a:pt x="304951" y="385601"/>
                    <a:pt x="331436" y="370670"/>
                  </a:cubicBezTo>
                  <a:cubicBezTo>
                    <a:pt x="335505" y="368623"/>
                    <a:pt x="339573" y="369996"/>
                    <a:pt x="341620" y="374066"/>
                  </a:cubicBezTo>
                  <a:close/>
                </a:path>
              </a:pathLst>
            </a:cu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2400"/>
            </a:p>
          </p:txBody>
        </p:sp>
        <p:sp>
          <p:nvSpPr>
            <p:cNvPr id="22" name="Forme libre 21">
              <a:extLst>
                <a:ext uri="{FF2B5EF4-FFF2-40B4-BE49-F238E27FC236}">
                  <a16:creationId xmlns:a16="http://schemas.microsoft.com/office/drawing/2014/main" id="{28AFDD5D-55BF-60FF-95D7-771E114CCB08}"/>
                </a:ext>
              </a:extLst>
            </p:cNvPr>
            <p:cNvSpPr/>
            <p:nvPr/>
          </p:nvSpPr>
          <p:spPr>
            <a:xfrm>
              <a:off x="1105920" y="572722"/>
              <a:ext cx="510791" cy="519402"/>
            </a:xfrm>
            <a:custGeom>
              <a:avLst/>
              <a:gdLst>
                <a:gd name="connsiteX0" fmla="*/ 505001 w 510791"/>
                <a:gd name="connsiteY0" fmla="*/ 191452 h 519402"/>
                <a:gd name="connsiteX1" fmla="*/ 494817 w 510791"/>
                <a:gd name="connsiteY1" fmla="*/ 186009 h 519402"/>
                <a:gd name="connsiteX2" fmla="*/ 259278 w 510791"/>
                <a:gd name="connsiteY2" fmla="*/ 16279 h 519402"/>
                <a:gd name="connsiteX3" fmla="*/ 15601 w 510791"/>
                <a:gd name="connsiteY3" fmla="*/ 259339 h 519402"/>
                <a:gd name="connsiteX4" fmla="*/ 259278 w 510791"/>
                <a:gd name="connsiteY4" fmla="*/ 503074 h 519402"/>
                <a:gd name="connsiteX5" fmla="*/ 494817 w 510791"/>
                <a:gd name="connsiteY5" fmla="*/ 332670 h 519402"/>
                <a:gd name="connsiteX6" fmla="*/ 505001 w 510791"/>
                <a:gd name="connsiteY6" fmla="*/ 327252 h 519402"/>
                <a:gd name="connsiteX7" fmla="*/ 510443 w 510791"/>
                <a:gd name="connsiteY7" fmla="*/ 337438 h 519402"/>
                <a:gd name="connsiteX8" fmla="*/ 259303 w 510791"/>
                <a:gd name="connsiteY8" fmla="*/ 519403 h 519402"/>
                <a:gd name="connsiteX9" fmla="*/ 0 w 510791"/>
                <a:gd name="connsiteY9" fmla="*/ 259364 h 519402"/>
                <a:gd name="connsiteX10" fmla="*/ 259278 w 510791"/>
                <a:gd name="connsiteY10" fmla="*/ 0 h 519402"/>
                <a:gd name="connsiteX11" fmla="*/ 510418 w 510791"/>
                <a:gd name="connsiteY11" fmla="*/ 181265 h 519402"/>
                <a:gd name="connsiteX12" fmla="*/ 504976 w 510791"/>
                <a:gd name="connsiteY12" fmla="*/ 191452 h 519402"/>
                <a:gd name="connsiteX13" fmla="*/ 126257 w 510791"/>
                <a:gd name="connsiteY13" fmla="*/ 327926 h 519402"/>
                <a:gd name="connsiteX14" fmla="*/ 137789 w 510791"/>
                <a:gd name="connsiteY14" fmla="*/ 330647 h 519402"/>
                <a:gd name="connsiteX15" fmla="*/ 259278 w 510791"/>
                <a:gd name="connsiteY15" fmla="*/ 402604 h 519402"/>
                <a:gd name="connsiteX16" fmla="*/ 399787 w 510791"/>
                <a:gd name="connsiteY16" fmla="*/ 259339 h 519402"/>
                <a:gd name="connsiteX17" fmla="*/ 259278 w 510791"/>
                <a:gd name="connsiteY17" fmla="*/ 116075 h 519402"/>
                <a:gd name="connsiteX18" fmla="*/ 137789 w 510791"/>
                <a:gd name="connsiteY18" fmla="*/ 188032 h 519402"/>
                <a:gd name="connsiteX19" fmla="*/ 126257 w 510791"/>
                <a:gd name="connsiteY19" fmla="*/ 191427 h 519402"/>
                <a:gd name="connsiteX20" fmla="*/ 123536 w 510791"/>
                <a:gd name="connsiteY20" fmla="*/ 179892 h 519402"/>
                <a:gd name="connsiteX21" fmla="*/ 259303 w 510791"/>
                <a:gd name="connsiteY21" fmla="*/ 100445 h 519402"/>
                <a:gd name="connsiteX22" fmla="*/ 416112 w 510791"/>
                <a:gd name="connsiteY22" fmla="*/ 259314 h 519402"/>
                <a:gd name="connsiteX23" fmla="*/ 259303 w 510791"/>
                <a:gd name="connsiteY23" fmla="*/ 418858 h 519402"/>
                <a:gd name="connsiteX24" fmla="*/ 123536 w 510791"/>
                <a:gd name="connsiteY24" fmla="*/ 338737 h 519402"/>
                <a:gd name="connsiteX25" fmla="*/ 126257 w 510791"/>
                <a:gd name="connsiteY25" fmla="*/ 327876 h 5194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510791" h="519402">
                  <a:moveTo>
                    <a:pt x="505001" y="191452"/>
                  </a:moveTo>
                  <a:cubicBezTo>
                    <a:pt x="500258" y="192801"/>
                    <a:pt x="496165" y="190778"/>
                    <a:pt x="494817" y="186009"/>
                  </a:cubicBezTo>
                  <a:cubicBezTo>
                    <a:pt x="462242" y="84166"/>
                    <a:pt x="366538" y="16279"/>
                    <a:pt x="259278" y="16279"/>
                  </a:cubicBezTo>
                  <a:cubicBezTo>
                    <a:pt x="115373" y="16279"/>
                    <a:pt x="15601" y="118122"/>
                    <a:pt x="15601" y="259339"/>
                  </a:cubicBezTo>
                  <a:cubicBezTo>
                    <a:pt x="15601" y="400557"/>
                    <a:pt x="115373" y="503074"/>
                    <a:pt x="259278" y="503074"/>
                  </a:cubicBezTo>
                  <a:cubicBezTo>
                    <a:pt x="366513" y="503074"/>
                    <a:pt x="462242" y="435187"/>
                    <a:pt x="494817" y="332670"/>
                  </a:cubicBezTo>
                  <a:cubicBezTo>
                    <a:pt x="496165" y="327926"/>
                    <a:pt x="500258" y="325878"/>
                    <a:pt x="505001" y="327252"/>
                  </a:cubicBezTo>
                  <a:cubicBezTo>
                    <a:pt x="509070" y="328600"/>
                    <a:pt x="511791" y="333369"/>
                    <a:pt x="510443" y="337438"/>
                  </a:cubicBezTo>
                  <a:cubicBezTo>
                    <a:pt x="475821" y="446747"/>
                    <a:pt x="372654" y="519403"/>
                    <a:pt x="259303" y="519403"/>
                  </a:cubicBezTo>
                  <a:cubicBezTo>
                    <a:pt x="105888" y="519403"/>
                    <a:pt x="0" y="409420"/>
                    <a:pt x="0" y="259364"/>
                  </a:cubicBezTo>
                  <a:cubicBezTo>
                    <a:pt x="0" y="109309"/>
                    <a:pt x="105888" y="0"/>
                    <a:pt x="259278" y="0"/>
                  </a:cubicBezTo>
                  <a:cubicBezTo>
                    <a:pt x="372629" y="0"/>
                    <a:pt x="475821" y="73330"/>
                    <a:pt x="510418" y="181265"/>
                  </a:cubicBezTo>
                  <a:cubicBezTo>
                    <a:pt x="511766" y="185335"/>
                    <a:pt x="509070" y="190778"/>
                    <a:pt x="504976" y="191452"/>
                  </a:cubicBezTo>
                  <a:close/>
                  <a:moveTo>
                    <a:pt x="126257" y="327926"/>
                  </a:moveTo>
                  <a:cubicBezTo>
                    <a:pt x="130325" y="325878"/>
                    <a:pt x="135767" y="327252"/>
                    <a:pt x="137789" y="330647"/>
                  </a:cubicBezTo>
                  <a:cubicBezTo>
                    <a:pt x="162226" y="374765"/>
                    <a:pt x="208381" y="402604"/>
                    <a:pt x="259278" y="402604"/>
                  </a:cubicBezTo>
                  <a:cubicBezTo>
                    <a:pt x="338007" y="402604"/>
                    <a:pt x="399787" y="337413"/>
                    <a:pt x="399787" y="259339"/>
                  </a:cubicBezTo>
                  <a:cubicBezTo>
                    <a:pt x="399787" y="181265"/>
                    <a:pt x="338007" y="116075"/>
                    <a:pt x="259278" y="116075"/>
                  </a:cubicBezTo>
                  <a:cubicBezTo>
                    <a:pt x="208381" y="116075"/>
                    <a:pt x="162201" y="143914"/>
                    <a:pt x="137789" y="188032"/>
                  </a:cubicBezTo>
                  <a:cubicBezTo>
                    <a:pt x="135742" y="192101"/>
                    <a:pt x="130325" y="193450"/>
                    <a:pt x="126257" y="191427"/>
                  </a:cubicBezTo>
                  <a:cubicBezTo>
                    <a:pt x="122862" y="188706"/>
                    <a:pt x="121514" y="183962"/>
                    <a:pt x="123536" y="179892"/>
                  </a:cubicBezTo>
                  <a:cubicBezTo>
                    <a:pt x="151368" y="131005"/>
                    <a:pt x="202964" y="100445"/>
                    <a:pt x="259303" y="100445"/>
                  </a:cubicBezTo>
                  <a:cubicBezTo>
                    <a:pt x="346868" y="100445"/>
                    <a:pt x="416112" y="173101"/>
                    <a:pt x="416112" y="259314"/>
                  </a:cubicBezTo>
                  <a:cubicBezTo>
                    <a:pt x="416112" y="345528"/>
                    <a:pt x="346868" y="418858"/>
                    <a:pt x="259303" y="418858"/>
                  </a:cubicBezTo>
                  <a:cubicBezTo>
                    <a:pt x="202964" y="418858"/>
                    <a:pt x="151368" y="387623"/>
                    <a:pt x="123536" y="338737"/>
                  </a:cubicBezTo>
                  <a:cubicBezTo>
                    <a:pt x="121489" y="335341"/>
                    <a:pt x="122862" y="329898"/>
                    <a:pt x="126257" y="327876"/>
                  </a:cubicBezTo>
                  <a:close/>
                </a:path>
              </a:pathLst>
            </a:cu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2400"/>
            </a:p>
          </p:txBody>
        </p:sp>
        <p:sp>
          <p:nvSpPr>
            <p:cNvPr id="23" name="Forme libre 22">
              <a:extLst>
                <a:ext uri="{FF2B5EF4-FFF2-40B4-BE49-F238E27FC236}">
                  <a16:creationId xmlns:a16="http://schemas.microsoft.com/office/drawing/2014/main" id="{112BE2BF-1A27-9B52-9AF9-193CD5F674EA}"/>
                </a:ext>
              </a:extLst>
            </p:cNvPr>
            <p:cNvSpPr/>
            <p:nvPr/>
          </p:nvSpPr>
          <p:spPr>
            <a:xfrm>
              <a:off x="1707997" y="582753"/>
              <a:ext cx="411344" cy="501057"/>
            </a:xfrm>
            <a:custGeom>
              <a:avLst/>
              <a:gdLst>
                <a:gd name="connsiteX0" fmla="*/ 0 w 411344"/>
                <a:gd name="connsiteY0" fmla="*/ 493068 h 501057"/>
                <a:gd name="connsiteX1" fmla="*/ 0 w 411344"/>
                <a:gd name="connsiteY1" fmla="*/ 8295 h 501057"/>
                <a:gd name="connsiteX2" fmla="*/ 15601 w 411344"/>
                <a:gd name="connsiteY2" fmla="*/ 8295 h 501057"/>
                <a:gd name="connsiteX3" fmla="*/ 15601 w 411344"/>
                <a:gd name="connsiteY3" fmla="*/ 493068 h 501057"/>
                <a:gd name="connsiteX4" fmla="*/ 0 w 411344"/>
                <a:gd name="connsiteY4" fmla="*/ 493068 h 501057"/>
                <a:gd name="connsiteX5" fmla="*/ 101819 w 411344"/>
                <a:gd name="connsiteY5" fmla="*/ 3551 h 501057"/>
                <a:gd name="connsiteX6" fmla="*/ 298667 w 411344"/>
                <a:gd name="connsiteY6" fmla="*/ 284637 h 501057"/>
                <a:gd name="connsiteX7" fmla="*/ 298667 w 411344"/>
                <a:gd name="connsiteY7" fmla="*/ 8295 h 501057"/>
                <a:gd name="connsiteX8" fmla="*/ 314967 w 411344"/>
                <a:gd name="connsiteY8" fmla="*/ 8295 h 501057"/>
                <a:gd name="connsiteX9" fmla="*/ 314967 w 411344"/>
                <a:gd name="connsiteY9" fmla="*/ 309755 h 501057"/>
                <a:gd name="connsiteX10" fmla="*/ 300040 w 411344"/>
                <a:gd name="connsiteY10" fmla="*/ 314499 h 501057"/>
                <a:gd name="connsiteX11" fmla="*/ 89613 w 411344"/>
                <a:gd name="connsiteY11" fmla="*/ 12365 h 501057"/>
                <a:gd name="connsiteX12" fmla="*/ 101819 w 411344"/>
                <a:gd name="connsiteY12" fmla="*/ 3526 h 501057"/>
                <a:gd name="connsiteX13" fmla="*/ 308852 w 411344"/>
                <a:gd name="connsiteY13" fmla="*/ 497811 h 501057"/>
                <a:gd name="connsiteX14" fmla="*/ 113376 w 411344"/>
                <a:gd name="connsiteY14" fmla="*/ 216051 h 501057"/>
                <a:gd name="connsiteX15" fmla="*/ 113376 w 411344"/>
                <a:gd name="connsiteY15" fmla="*/ 493068 h 501057"/>
                <a:gd name="connsiteX16" fmla="*/ 97076 w 411344"/>
                <a:gd name="connsiteY16" fmla="*/ 493068 h 501057"/>
                <a:gd name="connsiteX17" fmla="*/ 97076 w 411344"/>
                <a:gd name="connsiteY17" fmla="*/ 190934 h 501057"/>
                <a:gd name="connsiteX18" fmla="*/ 112003 w 411344"/>
                <a:gd name="connsiteY18" fmla="*/ 186190 h 501057"/>
                <a:gd name="connsiteX19" fmla="*/ 322431 w 411344"/>
                <a:gd name="connsiteY19" fmla="*/ 488324 h 501057"/>
                <a:gd name="connsiteX20" fmla="*/ 308852 w 411344"/>
                <a:gd name="connsiteY20" fmla="*/ 497836 h 501057"/>
                <a:gd name="connsiteX21" fmla="*/ 395045 w 411344"/>
                <a:gd name="connsiteY21" fmla="*/ 493068 h 501057"/>
                <a:gd name="connsiteX22" fmla="*/ 395045 w 411344"/>
                <a:gd name="connsiteY22" fmla="*/ 8295 h 501057"/>
                <a:gd name="connsiteX23" fmla="*/ 411345 w 411344"/>
                <a:gd name="connsiteY23" fmla="*/ 8295 h 501057"/>
                <a:gd name="connsiteX24" fmla="*/ 411345 w 411344"/>
                <a:gd name="connsiteY24" fmla="*/ 493068 h 501057"/>
                <a:gd name="connsiteX25" fmla="*/ 395045 w 411344"/>
                <a:gd name="connsiteY25" fmla="*/ 493068 h 50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411344" h="501057">
                  <a:moveTo>
                    <a:pt x="0" y="493068"/>
                  </a:moveTo>
                  <a:lnTo>
                    <a:pt x="0" y="8295"/>
                  </a:lnTo>
                  <a:cubicBezTo>
                    <a:pt x="0" y="-2566"/>
                    <a:pt x="15601" y="-2566"/>
                    <a:pt x="15601" y="8295"/>
                  </a:cubicBezTo>
                  <a:lnTo>
                    <a:pt x="15601" y="493068"/>
                  </a:lnTo>
                  <a:cubicBezTo>
                    <a:pt x="15601" y="503254"/>
                    <a:pt x="0" y="503254"/>
                    <a:pt x="0" y="493068"/>
                  </a:cubicBezTo>
                  <a:close/>
                  <a:moveTo>
                    <a:pt x="101819" y="3551"/>
                  </a:moveTo>
                  <a:lnTo>
                    <a:pt x="298667" y="284637"/>
                  </a:lnTo>
                  <a:lnTo>
                    <a:pt x="298667" y="8295"/>
                  </a:lnTo>
                  <a:cubicBezTo>
                    <a:pt x="298667" y="-2566"/>
                    <a:pt x="314967" y="-2566"/>
                    <a:pt x="314967" y="8295"/>
                  </a:cubicBezTo>
                  <a:lnTo>
                    <a:pt x="314967" y="309755"/>
                  </a:lnTo>
                  <a:cubicBezTo>
                    <a:pt x="314967" y="317220"/>
                    <a:pt x="304109" y="321290"/>
                    <a:pt x="300040" y="314499"/>
                  </a:cubicBezTo>
                  <a:lnTo>
                    <a:pt x="89613" y="12365"/>
                  </a:lnTo>
                  <a:cubicBezTo>
                    <a:pt x="83497" y="4225"/>
                    <a:pt x="96402" y="-5288"/>
                    <a:pt x="101819" y="3526"/>
                  </a:cubicBezTo>
                  <a:close/>
                  <a:moveTo>
                    <a:pt x="308852" y="497811"/>
                  </a:moveTo>
                  <a:lnTo>
                    <a:pt x="113376" y="216051"/>
                  </a:lnTo>
                  <a:lnTo>
                    <a:pt x="113376" y="493068"/>
                  </a:lnTo>
                  <a:cubicBezTo>
                    <a:pt x="113376" y="503254"/>
                    <a:pt x="97076" y="503254"/>
                    <a:pt x="97076" y="493068"/>
                  </a:cubicBezTo>
                  <a:lnTo>
                    <a:pt x="97076" y="190934"/>
                  </a:lnTo>
                  <a:cubicBezTo>
                    <a:pt x="97076" y="183468"/>
                    <a:pt x="106587" y="180073"/>
                    <a:pt x="112003" y="186190"/>
                  </a:cubicBezTo>
                  <a:lnTo>
                    <a:pt x="322431" y="488324"/>
                  </a:lnTo>
                  <a:cubicBezTo>
                    <a:pt x="327873" y="497162"/>
                    <a:pt x="315641" y="505976"/>
                    <a:pt x="308852" y="497836"/>
                  </a:cubicBezTo>
                  <a:close/>
                  <a:moveTo>
                    <a:pt x="395045" y="493068"/>
                  </a:moveTo>
                  <a:lnTo>
                    <a:pt x="395045" y="8295"/>
                  </a:lnTo>
                  <a:cubicBezTo>
                    <a:pt x="395045" y="-2566"/>
                    <a:pt x="411345" y="-2566"/>
                    <a:pt x="411345" y="8295"/>
                  </a:cubicBezTo>
                  <a:lnTo>
                    <a:pt x="411345" y="493068"/>
                  </a:lnTo>
                  <a:cubicBezTo>
                    <a:pt x="411345" y="503254"/>
                    <a:pt x="395045" y="503254"/>
                    <a:pt x="395045" y="493068"/>
                  </a:cubicBezTo>
                  <a:close/>
                </a:path>
              </a:pathLst>
            </a:cu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2400"/>
            </a:p>
          </p:txBody>
        </p:sp>
        <p:sp>
          <p:nvSpPr>
            <p:cNvPr id="24" name="Forme libre 23">
              <a:extLst>
                <a:ext uri="{FF2B5EF4-FFF2-40B4-BE49-F238E27FC236}">
                  <a16:creationId xmlns:a16="http://schemas.microsoft.com/office/drawing/2014/main" id="{081B6AE6-BDB4-FDA7-D20A-B7BAAD42E230}"/>
                </a:ext>
              </a:extLst>
            </p:cNvPr>
            <p:cNvSpPr/>
            <p:nvPr/>
          </p:nvSpPr>
          <p:spPr>
            <a:xfrm>
              <a:off x="2187912" y="583582"/>
              <a:ext cx="354332" cy="499728"/>
            </a:xfrm>
            <a:custGeom>
              <a:avLst/>
              <a:gdLst>
                <a:gd name="connsiteX0" fmla="*/ 0 w 354332"/>
                <a:gd name="connsiteY0" fmla="*/ 7465 h 499728"/>
                <a:gd name="connsiteX1" fmla="*/ 7464 w 354332"/>
                <a:gd name="connsiteY1" fmla="*/ 0 h 499728"/>
                <a:gd name="connsiteX2" fmla="*/ 346170 w 354332"/>
                <a:gd name="connsiteY2" fmla="*/ 0 h 499728"/>
                <a:gd name="connsiteX3" fmla="*/ 354307 w 354332"/>
                <a:gd name="connsiteY3" fmla="*/ 7465 h 499728"/>
                <a:gd name="connsiteX4" fmla="*/ 346170 w 354332"/>
                <a:gd name="connsiteY4" fmla="*/ 14931 h 499728"/>
                <a:gd name="connsiteX5" fmla="*/ 7464 w 354332"/>
                <a:gd name="connsiteY5" fmla="*/ 14931 h 499728"/>
                <a:gd name="connsiteX6" fmla="*/ 0 w 354332"/>
                <a:gd name="connsiteY6" fmla="*/ 7465 h 499728"/>
                <a:gd name="connsiteX7" fmla="*/ 0 w 354332"/>
                <a:gd name="connsiteY7" fmla="*/ 103891 h 499728"/>
                <a:gd name="connsiteX8" fmla="*/ 7464 w 354332"/>
                <a:gd name="connsiteY8" fmla="*/ 96425 h 499728"/>
                <a:gd name="connsiteX9" fmla="*/ 128952 w 354332"/>
                <a:gd name="connsiteY9" fmla="*/ 96425 h 499728"/>
                <a:gd name="connsiteX10" fmla="*/ 136416 w 354332"/>
                <a:gd name="connsiteY10" fmla="*/ 103891 h 499728"/>
                <a:gd name="connsiteX11" fmla="*/ 136416 w 354332"/>
                <a:gd name="connsiteY11" fmla="*/ 492238 h 499728"/>
                <a:gd name="connsiteX12" fmla="*/ 128952 w 354332"/>
                <a:gd name="connsiteY12" fmla="*/ 499703 h 499728"/>
                <a:gd name="connsiteX13" fmla="*/ 120815 w 354332"/>
                <a:gd name="connsiteY13" fmla="*/ 492238 h 499728"/>
                <a:gd name="connsiteX14" fmla="*/ 120815 w 354332"/>
                <a:gd name="connsiteY14" fmla="*/ 112704 h 499728"/>
                <a:gd name="connsiteX15" fmla="*/ 7464 w 354332"/>
                <a:gd name="connsiteY15" fmla="*/ 112704 h 499728"/>
                <a:gd name="connsiteX16" fmla="*/ 0 w 354332"/>
                <a:gd name="connsiteY16" fmla="*/ 103866 h 499728"/>
                <a:gd name="connsiteX17" fmla="*/ 354307 w 354332"/>
                <a:gd name="connsiteY17" fmla="*/ 103891 h 499728"/>
                <a:gd name="connsiteX18" fmla="*/ 346844 w 354332"/>
                <a:gd name="connsiteY18" fmla="*/ 112729 h 499728"/>
                <a:gd name="connsiteX19" fmla="*/ 232818 w 354332"/>
                <a:gd name="connsiteY19" fmla="*/ 112729 h 499728"/>
                <a:gd name="connsiteX20" fmla="*/ 232818 w 354332"/>
                <a:gd name="connsiteY20" fmla="*/ 492263 h 499728"/>
                <a:gd name="connsiteX21" fmla="*/ 225355 w 354332"/>
                <a:gd name="connsiteY21" fmla="*/ 499728 h 499728"/>
                <a:gd name="connsiteX22" fmla="*/ 217891 w 354332"/>
                <a:gd name="connsiteY22" fmla="*/ 492263 h 499728"/>
                <a:gd name="connsiteX23" fmla="*/ 217891 w 354332"/>
                <a:gd name="connsiteY23" fmla="*/ 103891 h 499728"/>
                <a:gd name="connsiteX24" fmla="*/ 225355 w 354332"/>
                <a:gd name="connsiteY24" fmla="*/ 96425 h 499728"/>
                <a:gd name="connsiteX25" fmla="*/ 346869 w 354332"/>
                <a:gd name="connsiteY25" fmla="*/ 96425 h 499728"/>
                <a:gd name="connsiteX26" fmla="*/ 354332 w 354332"/>
                <a:gd name="connsiteY26" fmla="*/ 103891 h 4997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354332" h="499728">
                  <a:moveTo>
                    <a:pt x="0" y="7465"/>
                  </a:moveTo>
                  <a:cubicBezTo>
                    <a:pt x="0" y="3396"/>
                    <a:pt x="3395" y="0"/>
                    <a:pt x="7464" y="0"/>
                  </a:cubicBezTo>
                  <a:lnTo>
                    <a:pt x="346170" y="0"/>
                  </a:lnTo>
                  <a:cubicBezTo>
                    <a:pt x="350912" y="0"/>
                    <a:pt x="354307" y="3396"/>
                    <a:pt x="354307" y="7465"/>
                  </a:cubicBezTo>
                  <a:cubicBezTo>
                    <a:pt x="354307" y="11535"/>
                    <a:pt x="350912" y="14931"/>
                    <a:pt x="346170" y="14931"/>
                  </a:cubicBezTo>
                  <a:lnTo>
                    <a:pt x="7464" y="14931"/>
                  </a:lnTo>
                  <a:cubicBezTo>
                    <a:pt x="3395" y="14931"/>
                    <a:pt x="0" y="11535"/>
                    <a:pt x="0" y="7465"/>
                  </a:cubicBezTo>
                  <a:close/>
                  <a:moveTo>
                    <a:pt x="0" y="103891"/>
                  </a:moveTo>
                  <a:cubicBezTo>
                    <a:pt x="0" y="99821"/>
                    <a:pt x="3395" y="96425"/>
                    <a:pt x="7464" y="96425"/>
                  </a:cubicBezTo>
                  <a:lnTo>
                    <a:pt x="128952" y="96425"/>
                  </a:lnTo>
                  <a:cubicBezTo>
                    <a:pt x="133021" y="96425"/>
                    <a:pt x="136416" y="99821"/>
                    <a:pt x="136416" y="103891"/>
                  </a:cubicBezTo>
                  <a:lnTo>
                    <a:pt x="136416" y="492238"/>
                  </a:lnTo>
                  <a:cubicBezTo>
                    <a:pt x="136416" y="496308"/>
                    <a:pt x="133021" y="499703"/>
                    <a:pt x="128952" y="499703"/>
                  </a:cubicBezTo>
                  <a:cubicBezTo>
                    <a:pt x="124210" y="499703"/>
                    <a:pt x="120815" y="496308"/>
                    <a:pt x="120815" y="492238"/>
                  </a:cubicBezTo>
                  <a:lnTo>
                    <a:pt x="120815" y="112704"/>
                  </a:lnTo>
                  <a:lnTo>
                    <a:pt x="7464" y="112704"/>
                  </a:lnTo>
                  <a:cubicBezTo>
                    <a:pt x="3395" y="112704"/>
                    <a:pt x="0" y="108634"/>
                    <a:pt x="0" y="103866"/>
                  </a:cubicBezTo>
                  <a:close/>
                  <a:moveTo>
                    <a:pt x="354307" y="103891"/>
                  </a:moveTo>
                  <a:cubicBezTo>
                    <a:pt x="354307" y="108634"/>
                    <a:pt x="350912" y="112729"/>
                    <a:pt x="346844" y="112729"/>
                  </a:cubicBezTo>
                  <a:lnTo>
                    <a:pt x="232818" y="112729"/>
                  </a:lnTo>
                  <a:lnTo>
                    <a:pt x="232818" y="492263"/>
                  </a:lnTo>
                  <a:cubicBezTo>
                    <a:pt x="232818" y="496333"/>
                    <a:pt x="229424" y="499728"/>
                    <a:pt x="225355" y="499728"/>
                  </a:cubicBezTo>
                  <a:cubicBezTo>
                    <a:pt x="221286" y="499728"/>
                    <a:pt x="217891" y="496333"/>
                    <a:pt x="217891" y="492263"/>
                  </a:cubicBezTo>
                  <a:lnTo>
                    <a:pt x="217891" y="103891"/>
                  </a:lnTo>
                  <a:cubicBezTo>
                    <a:pt x="217891" y="99821"/>
                    <a:pt x="221286" y="96425"/>
                    <a:pt x="225355" y="96425"/>
                  </a:cubicBezTo>
                  <a:lnTo>
                    <a:pt x="346869" y="96425"/>
                  </a:lnTo>
                  <a:cubicBezTo>
                    <a:pt x="350937" y="96425"/>
                    <a:pt x="354332" y="99821"/>
                    <a:pt x="354332" y="103891"/>
                  </a:cubicBezTo>
                  <a:close/>
                </a:path>
              </a:pathLst>
            </a:cu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2400"/>
            </a:p>
          </p:txBody>
        </p:sp>
        <p:sp>
          <p:nvSpPr>
            <p:cNvPr id="25" name="Forme libre 24">
              <a:extLst>
                <a:ext uri="{FF2B5EF4-FFF2-40B4-BE49-F238E27FC236}">
                  <a16:creationId xmlns:a16="http://schemas.microsoft.com/office/drawing/2014/main" id="{BA4DB6C4-5C5E-610B-7463-4CEB373E5BF2}"/>
                </a:ext>
              </a:extLst>
            </p:cNvPr>
            <p:cNvSpPr/>
            <p:nvPr/>
          </p:nvSpPr>
          <p:spPr>
            <a:xfrm>
              <a:off x="2615556" y="582908"/>
              <a:ext cx="266741" cy="500377"/>
            </a:xfrm>
            <a:custGeom>
              <a:avLst/>
              <a:gdLst>
                <a:gd name="connsiteX0" fmla="*/ 266741 w 266741"/>
                <a:gd name="connsiteY0" fmla="*/ 492912 h 500377"/>
                <a:gd name="connsiteX1" fmla="*/ 259278 w 266741"/>
                <a:gd name="connsiteY1" fmla="*/ 500378 h 500377"/>
                <a:gd name="connsiteX2" fmla="*/ 8138 w 266741"/>
                <a:gd name="connsiteY2" fmla="*/ 500378 h 500377"/>
                <a:gd name="connsiteX3" fmla="*/ 0 w 266741"/>
                <a:gd name="connsiteY3" fmla="*/ 492912 h 500377"/>
                <a:gd name="connsiteX4" fmla="*/ 0 w 266741"/>
                <a:gd name="connsiteY4" fmla="*/ 7465 h 500377"/>
                <a:gd name="connsiteX5" fmla="*/ 8138 w 266741"/>
                <a:gd name="connsiteY5" fmla="*/ 0 h 500377"/>
                <a:gd name="connsiteX6" fmla="*/ 259278 w 266741"/>
                <a:gd name="connsiteY6" fmla="*/ 0 h 500377"/>
                <a:gd name="connsiteX7" fmla="*/ 266741 w 266741"/>
                <a:gd name="connsiteY7" fmla="*/ 7465 h 500377"/>
                <a:gd name="connsiteX8" fmla="*/ 259278 w 266741"/>
                <a:gd name="connsiteY8" fmla="*/ 15605 h 500377"/>
                <a:gd name="connsiteX9" fmla="*/ 15601 w 266741"/>
                <a:gd name="connsiteY9" fmla="*/ 15605 h 500377"/>
                <a:gd name="connsiteX10" fmla="*/ 15601 w 266741"/>
                <a:gd name="connsiteY10" fmla="*/ 484748 h 500377"/>
                <a:gd name="connsiteX11" fmla="*/ 259278 w 266741"/>
                <a:gd name="connsiteY11" fmla="*/ 484748 h 500377"/>
                <a:gd name="connsiteX12" fmla="*/ 266741 w 266741"/>
                <a:gd name="connsiteY12" fmla="*/ 492887 h 500377"/>
                <a:gd name="connsiteX13" fmla="*/ 266741 w 266741"/>
                <a:gd name="connsiteY13" fmla="*/ 104565 h 500377"/>
                <a:gd name="connsiteX14" fmla="*/ 259278 w 266741"/>
                <a:gd name="connsiteY14" fmla="*/ 112704 h 500377"/>
                <a:gd name="connsiteX15" fmla="*/ 112652 w 266741"/>
                <a:gd name="connsiteY15" fmla="*/ 112704 h 500377"/>
                <a:gd name="connsiteX16" fmla="*/ 112652 w 266741"/>
                <a:gd name="connsiteY16" fmla="*/ 193500 h 500377"/>
                <a:gd name="connsiteX17" fmla="*/ 213797 w 266741"/>
                <a:gd name="connsiteY17" fmla="*/ 193500 h 500377"/>
                <a:gd name="connsiteX18" fmla="*/ 221935 w 266741"/>
                <a:gd name="connsiteY18" fmla="*/ 201639 h 500377"/>
                <a:gd name="connsiteX19" fmla="*/ 213797 w 266741"/>
                <a:gd name="connsiteY19" fmla="*/ 209779 h 500377"/>
                <a:gd name="connsiteX20" fmla="*/ 105189 w 266741"/>
                <a:gd name="connsiteY20" fmla="*/ 209779 h 500377"/>
                <a:gd name="connsiteX21" fmla="*/ 97051 w 266741"/>
                <a:gd name="connsiteY21" fmla="*/ 201639 h 500377"/>
                <a:gd name="connsiteX22" fmla="*/ 97051 w 266741"/>
                <a:gd name="connsiteY22" fmla="*/ 104540 h 500377"/>
                <a:gd name="connsiteX23" fmla="*/ 105189 w 266741"/>
                <a:gd name="connsiteY23" fmla="*/ 97074 h 500377"/>
                <a:gd name="connsiteX24" fmla="*/ 259278 w 266741"/>
                <a:gd name="connsiteY24" fmla="*/ 97074 h 500377"/>
                <a:gd name="connsiteX25" fmla="*/ 266741 w 266741"/>
                <a:gd name="connsiteY25" fmla="*/ 104540 h 500377"/>
                <a:gd name="connsiteX26" fmla="*/ 221935 w 266741"/>
                <a:gd name="connsiteY26" fmla="*/ 298738 h 500377"/>
                <a:gd name="connsiteX27" fmla="*/ 213797 w 266741"/>
                <a:gd name="connsiteY27" fmla="*/ 306204 h 500377"/>
                <a:gd name="connsiteX28" fmla="*/ 112652 w 266741"/>
                <a:gd name="connsiteY28" fmla="*/ 306204 h 500377"/>
                <a:gd name="connsiteX29" fmla="*/ 112652 w 266741"/>
                <a:gd name="connsiteY29" fmla="*/ 387673 h 500377"/>
                <a:gd name="connsiteX30" fmla="*/ 259278 w 266741"/>
                <a:gd name="connsiteY30" fmla="*/ 387673 h 500377"/>
                <a:gd name="connsiteX31" fmla="*/ 266741 w 266741"/>
                <a:gd name="connsiteY31" fmla="*/ 395813 h 500377"/>
                <a:gd name="connsiteX32" fmla="*/ 259278 w 266741"/>
                <a:gd name="connsiteY32" fmla="*/ 403278 h 500377"/>
                <a:gd name="connsiteX33" fmla="*/ 105189 w 266741"/>
                <a:gd name="connsiteY33" fmla="*/ 403278 h 500377"/>
                <a:gd name="connsiteX34" fmla="*/ 97051 w 266741"/>
                <a:gd name="connsiteY34" fmla="*/ 395813 h 500377"/>
                <a:gd name="connsiteX35" fmla="*/ 97051 w 266741"/>
                <a:gd name="connsiteY35" fmla="*/ 298713 h 500377"/>
                <a:gd name="connsiteX36" fmla="*/ 105189 w 266741"/>
                <a:gd name="connsiteY36" fmla="*/ 290574 h 500377"/>
                <a:gd name="connsiteX37" fmla="*/ 213797 w 266741"/>
                <a:gd name="connsiteY37" fmla="*/ 290574 h 500377"/>
                <a:gd name="connsiteX38" fmla="*/ 221935 w 266741"/>
                <a:gd name="connsiteY38" fmla="*/ 298713 h 5003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266741" h="500377">
                  <a:moveTo>
                    <a:pt x="266741" y="492912"/>
                  </a:moveTo>
                  <a:cubicBezTo>
                    <a:pt x="266741" y="496982"/>
                    <a:pt x="263346" y="500378"/>
                    <a:pt x="259278" y="500378"/>
                  </a:cubicBezTo>
                  <a:lnTo>
                    <a:pt x="8138" y="500378"/>
                  </a:lnTo>
                  <a:cubicBezTo>
                    <a:pt x="3395" y="500378"/>
                    <a:pt x="0" y="496982"/>
                    <a:pt x="0" y="492912"/>
                  </a:cubicBezTo>
                  <a:lnTo>
                    <a:pt x="0" y="7465"/>
                  </a:lnTo>
                  <a:cubicBezTo>
                    <a:pt x="0" y="3396"/>
                    <a:pt x="3395" y="0"/>
                    <a:pt x="8138" y="0"/>
                  </a:cubicBezTo>
                  <a:lnTo>
                    <a:pt x="259278" y="0"/>
                  </a:lnTo>
                  <a:cubicBezTo>
                    <a:pt x="263346" y="0"/>
                    <a:pt x="266741" y="3396"/>
                    <a:pt x="266741" y="7465"/>
                  </a:cubicBezTo>
                  <a:cubicBezTo>
                    <a:pt x="266741" y="12209"/>
                    <a:pt x="263346" y="15605"/>
                    <a:pt x="259278" y="15605"/>
                  </a:cubicBezTo>
                  <a:lnTo>
                    <a:pt x="15601" y="15605"/>
                  </a:lnTo>
                  <a:lnTo>
                    <a:pt x="15601" y="484748"/>
                  </a:lnTo>
                  <a:lnTo>
                    <a:pt x="259278" y="484748"/>
                  </a:lnTo>
                  <a:cubicBezTo>
                    <a:pt x="263346" y="484748"/>
                    <a:pt x="266741" y="488143"/>
                    <a:pt x="266741" y="492887"/>
                  </a:cubicBezTo>
                  <a:close/>
                  <a:moveTo>
                    <a:pt x="266741" y="104565"/>
                  </a:moveTo>
                  <a:cubicBezTo>
                    <a:pt x="266741" y="109309"/>
                    <a:pt x="263346" y="112704"/>
                    <a:pt x="259278" y="112704"/>
                  </a:cubicBezTo>
                  <a:lnTo>
                    <a:pt x="112652" y="112704"/>
                  </a:lnTo>
                  <a:lnTo>
                    <a:pt x="112652" y="193500"/>
                  </a:lnTo>
                  <a:lnTo>
                    <a:pt x="213797" y="193500"/>
                  </a:lnTo>
                  <a:cubicBezTo>
                    <a:pt x="218540" y="193500"/>
                    <a:pt x="221935" y="197569"/>
                    <a:pt x="221935" y="201639"/>
                  </a:cubicBezTo>
                  <a:cubicBezTo>
                    <a:pt x="221935" y="205709"/>
                    <a:pt x="218540" y="209779"/>
                    <a:pt x="213797" y="209779"/>
                  </a:cubicBezTo>
                  <a:lnTo>
                    <a:pt x="105189" y="209779"/>
                  </a:lnTo>
                  <a:cubicBezTo>
                    <a:pt x="100446" y="209779"/>
                    <a:pt x="97051" y="205709"/>
                    <a:pt x="97051" y="201639"/>
                  </a:cubicBezTo>
                  <a:lnTo>
                    <a:pt x="97051" y="104540"/>
                  </a:lnTo>
                  <a:cubicBezTo>
                    <a:pt x="97051" y="100470"/>
                    <a:pt x="100446" y="97074"/>
                    <a:pt x="105189" y="97074"/>
                  </a:cubicBezTo>
                  <a:lnTo>
                    <a:pt x="259278" y="97074"/>
                  </a:lnTo>
                  <a:cubicBezTo>
                    <a:pt x="263346" y="97074"/>
                    <a:pt x="266741" y="100470"/>
                    <a:pt x="266741" y="104540"/>
                  </a:cubicBezTo>
                  <a:close/>
                  <a:moveTo>
                    <a:pt x="221935" y="298738"/>
                  </a:moveTo>
                  <a:cubicBezTo>
                    <a:pt x="221935" y="302808"/>
                    <a:pt x="218540" y="306204"/>
                    <a:pt x="213797" y="306204"/>
                  </a:cubicBezTo>
                  <a:lnTo>
                    <a:pt x="112652" y="306204"/>
                  </a:lnTo>
                  <a:lnTo>
                    <a:pt x="112652" y="387673"/>
                  </a:lnTo>
                  <a:lnTo>
                    <a:pt x="259278" y="387673"/>
                  </a:lnTo>
                  <a:cubicBezTo>
                    <a:pt x="263346" y="387673"/>
                    <a:pt x="266741" y="391069"/>
                    <a:pt x="266741" y="395813"/>
                  </a:cubicBezTo>
                  <a:cubicBezTo>
                    <a:pt x="266741" y="399883"/>
                    <a:pt x="263346" y="403278"/>
                    <a:pt x="259278" y="403278"/>
                  </a:cubicBezTo>
                  <a:lnTo>
                    <a:pt x="105189" y="403278"/>
                  </a:lnTo>
                  <a:cubicBezTo>
                    <a:pt x="100446" y="403278"/>
                    <a:pt x="97051" y="399883"/>
                    <a:pt x="97051" y="395813"/>
                  </a:cubicBezTo>
                  <a:lnTo>
                    <a:pt x="97051" y="298713"/>
                  </a:lnTo>
                  <a:cubicBezTo>
                    <a:pt x="97051" y="293970"/>
                    <a:pt x="100446" y="290574"/>
                    <a:pt x="105189" y="290574"/>
                  </a:cubicBezTo>
                  <a:lnTo>
                    <a:pt x="213797" y="290574"/>
                  </a:lnTo>
                  <a:cubicBezTo>
                    <a:pt x="218540" y="290574"/>
                    <a:pt x="221935" y="293970"/>
                    <a:pt x="221935" y="298713"/>
                  </a:cubicBezTo>
                  <a:close/>
                </a:path>
              </a:pathLst>
            </a:cu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2400"/>
            </a:p>
          </p:txBody>
        </p:sp>
        <p:sp>
          <p:nvSpPr>
            <p:cNvPr id="26" name="Forme libre 25">
              <a:extLst>
                <a:ext uri="{FF2B5EF4-FFF2-40B4-BE49-F238E27FC236}">
                  <a16:creationId xmlns:a16="http://schemas.microsoft.com/office/drawing/2014/main" id="{A40D0627-DCE3-04B3-0A3A-46E94D58944D}"/>
                </a:ext>
              </a:extLst>
            </p:cNvPr>
            <p:cNvSpPr/>
            <p:nvPr/>
          </p:nvSpPr>
          <p:spPr>
            <a:xfrm>
              <a:off x="2973258" y="582753"/>
              <a:ext cx="411344" cy="501057"/>
            </a:xfrm>
            <a:custGeom>
              <a:avLst/>
              <a:gdLst>
                <a:gd name="connsiteX0" fmla="*/ 0 w 411344"/>
                <a:gd name="connsiteY0" fmla="*/ 493068 h 501057"/>
                <a:gd name="connsiteX1" fmla="*/ 0 w 411344"/>
                <a:gd name="connsiteY1" fmla="*/ 8295 h 501057"/>
                <a:gd name="connsiteX2" fmla="*/ 15601 w 411344"/>
                <a:gd name="connsiteY2" fmla="*/ 8295 h 501057"/>
                <a:gd name="connsiteX3" fmla="*/ 15601 w 411344"/>
                <a:gd name="connsiteY3" fmla="*/ 493068 h 501057"/>
                <a:gd name="connsiteX4" fmla="*/ 0 w 411344"/>
                <a:gd name="connsiteY4" fmla="*/ 493068 h 501057"/>
                <a:gd name="connsiteX5" fmla="*/ 101819 w 411344"/>
                <a:gd name="connsiteY5" fmla="*/ 3551 h 501057"/>
                <a:gd name="connsiteX6" fmla="*/ 298667 w 411344"/>
                <a:gd name="connsiteY6" fmla="*/ 284637 h 501057"/>
                <a:gd name="connsiteX7" fmla="*/ 298667 w 411344"/>
                <a:gd name="connsiteY7" fmla="*/ 8295 h 501057"/>
                <a:gd name="connsiteX8" fmla="*/ 314967 w 411344"/>
                <a:gd name="connsiteY8" fmla="*/ 8295 h 501057"/>
                <a:gd name="connsiteX9" fmla="*/ 314967 w 411344"/>
                <a:gd name="connsiteY9" fmla="*/ 309755 h 501057"/>
                <a:gd name="connsiteX10" fmla="*/ 300040 w 411344"/>
                <a:gd name="connsiteY10" fmla="*/ 314499 h 501057"/>
                <a:gd name="connsiteX11" fmla="*/ 89613 w 411344"/>
                <a:gd name="connsiteY11" fmla="*/ 12365 h 501057"/>
                <a:gd name="connsiteX12" fmla="*/ 101819 w 411344"/>
                <a:gd name="connsiteY12" fmla="*/ 3526 h 501057"/>
                <a:gd name="connsiteX13" fmla="*/ 308827 w 411344"/>
                <a:gd name="connsiteY13" fmla="*/ 497811 h 501057"/>
                <a:gd name="connsiteX14" fmla="*/ 113351 w 411344"/>
                <a:gd name="connsiteY14" fmla="*/ 216051 h 501057"/>
                <a:gd name="connsiteX15" fmla="*/ 113351 w 411344"/>
                <a:gd name="connsiteY15" fmla="*/ 493068 h 501057"/>
                <a:gd name="connsiteX16" fmla="*/ 97051 w 411344"/>
                <a:gd name="connsiteY16" fmla="*/ 493068 h 501057"/>
                <a:gd name="connsiteX17" fmla="*/ 97051 w 411344"/>
                <a:gd name="connsiteY17" fmla="*/ 190934 h 501057"/>
                <a:gd name="connsiteX18" fmla="*/ 111978 w 411344"/>
                <a:gd name="connsiteY18" fmla="*/ 186190 h 501057"/>
                <a:gd name="connsiteX19" fmla="*/ 322406 w 411344"/>
                <a:gd name="connsiteY19" fmla="*/ 488324 h 501057"/>
                <a:gd name="connsiteX20" fmla="*/ 308827 w 411344"/>
                <a:gd name="connsiteY20" fmla="*/ 497836 h 501057"/>
                <a:gd name="connsiteX21" fmla="*/ 395045 w 411344"/>
                <a:gd name="connsiteY21" fmla="*/ 493068 h 501057"/>
                <a:gd name="connsiteX22" fmla="*/ 395045 w 411344"/>
                <a:gd name="connsiteY22" fmla="*/ 8295 h 501057"/>
                <a:gd name="connsiteX23" fmla="*/ 411345 w 411344"/>
                <a:gd name="connsiteY23" fmla="*/ 8295 h 501057"/>
                <a:gd name="connsiteX24" fmla="*/ 411345 w 411344"/>
                <a:gd name="connsiteY24" fmla="*/ 493068 h 501057"/>
                <a:gd name="connsiteX25" fmla="*/ 395045 w 411344"/>
                <a:gd name="connsiteY25" fmla="*/ 493068 h 50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411344" h="501057">
                  <a:moveTo>
                    <a:pt x="0" y="493068"/>
                  </a:moveTo>
                  <a:lnTo>
                    <a:pt x="0" y="8295"/>
                  </a:lnTo>
                  <a:cubicBezTo>
                    <a:pt x="0" y="-2566"/>
                    <a:pt x="15601" y="-2566"/>
                    <a:pt x="15601" y="8295"/>
                  </a:cubicBezTo>
                  <a:lnTo>
                    <a:pt x="15601" y="493068"/>
                  </a:lnTo>
                  <a:cubicBezTo>
                    <a:pt x="15601" y="503254"/>
                    <a:pt x="0" y="503254"/>
                    <a:pt x="0" y="493068"/>
                  </a:cubicBezTo>
                  <a:close/>
                  <a:moveTo>
                    <a:pt x="101819" y="3551"/>
                  </a:moveTo>
                  <a:lnTo>
                    <a:pt x="298667" y="284637"/>
                  </a:lnTo>
                  <a:lnTo>
                    <a:pt x="298667" y="8295"/>
                  </a:lnTo>
                  <a:cubicBezTo>
                    <a:pt x="298667" y="-2566"/>
                    <a:pt x="314967" y="-2566"/>
                    <a:pt x="314967" y="8295"/>
                  </a:cubicBezTo>
                  <a:lnTo>
                    <a:pt x="314967" y="309755"/>
                  </a:lnTo>
                  <a:cubicBezTo>
                    <a:pt x="314967" y="317220"/>
                    <a:pt x="304109" y="321290"/>
                    <a:pt x="300040" y="314499"/>
                  </a:cubicBezTo>
                  <a:lnTo>
                    <a:pt x="89613" y="12365"/>
                  </a:lnTo>
                  <a:cubicBezTo>
                    <a:pt x="83497" y="4225"/>
                    <a:pt x="96402" y="-5288"/>
                    <a:pt x="101819" y="3526"/>
                  </a:cubicBezTo>
                  <a:close/>
                  <a:moveTo>
                    <a:pt x="308827" y="497811"/>
                  </a:moveTo>
                  <a:lnTo>
                    <a:pt x="113351" y="216051"/>
                  </a:lnTo>
                  <a:lnTo>
                    <a:pt x="113351" y="493068"/>
                  </a:lnTo>
                  <a:cubicBezTo>
                    <a:pt x="113351" y="503254"/>
                    <a:pt x="97051" y="503254"/>
                    <a:pt x="97051" y="493068"/>
                  </a:cubicBezTo>
                  <a:lnTo>
                    <a:pt x="97051" y="190934"/>
                  </a:lnTo>
                  <a:cubicBezTo>
                    <a:pt x="97051" y="183468"/>
                    <a:pt x="106562" y="180073"/>
                    <a:pt x="111978" y="186190"/>
                  </a:cubicBezTo>
                  <a:lnTo>
                    <a:pt x="322406" y="488324"/>
                  </a:lnTo>
                  <a:cubicBezTo>
                    <a:pt x="327848" y="497162"/>
                    <a:pt x="315616" y="505976"/>
                    <a:pt x="308827" y="497836"/>
                  </a:cubicBezTo>
                  <a:close/>
                  <a:moveTo>
                    <a:pt x="395045" y="493068"/>
                  </a:moveTo>
                  <a:lnTo>
                    <a:pt x="395045" y="8295"/>
                  </a:lnTo>
                  <a:cubicBezTo>
                    <a:pt x="395045" y="-2566"/>
                    <a:pt x="411345" y="-2566"/>
                    <a:pt x="411345" y="8295"/>
                  </a:cubicBezTo>
                  <a:lnTo>
                    <a:pt x="411345" y="493068"/>
                  </a:lnTo>
                  <a:cubicBezTo>
                    <a:pt x="411345" y="503254"/>
                    <a:pt x="395045" y="503254"/>
                    <a:pt x="395045" y="493068"/>
                  </a:cubicBezTo>
                  <a:close/>
                </a:path>
              </a:pathLst>
            </a:cu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2400"/>
            </a:p>
          </p:txBody>
        </p:sp>
        <p:sp>
          <p:nvSpPr>
            <p:cNvPr id="27" name="Forme libre 26">
              <a:extLst>
                <a:ext uri="{FF2B5EF4-FFF2-40B4-BE49-F238E27FC236}">
                  <a16:creationId xmlns:a16="http://schemas.microsoft.com/office/drawing/2014/main" id="{38F61CA8-8C47-310F-0B2E-C297FD5FB1AA}"/>
                </a:ext>
              </a:extLst>
            </p:cNvPr>
            <p:cNvSpPr/>
            <p:nvPr/>
          </p:nvSpPr>
          <p:spPr>
            <a:xfrm>
              <a:off x="3453148" y="583582"/>
              <a:ext cx="354332" cy="499728"/>
            </a:xfrm>
            <a:custGeom>
              <a:avLst/>
              <a:gdLst>
                <a:gd name="connsiteX0" fmla="*/ 0 w 354332"/>
                <a:gd name="connsiteY0" fmla="*/ 7465 h 499728"/>
                <a:gd name="connsiteX1" fmla="*/ 7464 w 354332"/>
                <a:gd name="connsiteY1" fmla="*/ 0 h 499728"/>
                <a:gd name="connsiteX2" fmla="*/ 346170 w 354332"/>
                <a:gd name="connsiteY2" fmla="*/ 0 h 499728"/>
                <a:gd name="connsiteX3" fmla="*/ 354307 w 354332"/>
                <a:gd name="connsiteY3" fmla="*/ 7465 h 499728"/>
                <a:gd name="connsiteX4" fmla="*/ 346170 w 354332"/>
                <a:gd name="connsiteY4" fmla="*/ 14931 h 499728"/>
                <a:gd name="connsiteX5" fmla="*/ 7464 w 354332"/>
                <a:gd name="connsiteY5" fmla="*/ 14931 h 499728"/>
                <a:gd name="connsiteX6" fmla="*/ 0 w 354332"/>
                <a:gd name="connsiteY6" fmla="*/ 7465 h 499728"/>
                <a:gd name="connsiteX7" fmla="*/ 0 w 354332"/>
                <a:gd name="connsiteY7" fmla="*/ 103891 h 499728"/>
                <a:gd name="connsiteX8" fmla="*/ 7464 w 354332"/>
                <a:gd name="connsiteY8" fmla="*/ 96425 h 499728"/>
                <a:gd name="connsiteX9" fmla="*/ 128952 w 354332"/>
                <a:gd name="connsiteY9" fmla="*/ 96425 h 499728"/>
                <a:gd name="connsiteX10" fmla="*/ 136416 w 354332"/>
                <a:gd name="connsiteY10" fmla="*/ 103891 h 499728"/>
                <a:gd name="connsiteX11" fmla="*/ 136416 w 354332"/>
                <a:gd name="connsiteY11" fmla="*/ 492238 h 499728"/>
                <a:gd name="connsiteX12" fmla="*/ 128952 w 354332"/>
                <a:gd name="connsiteY12" fmla="*/ 499703 h 499728"/>
                <a:gd name="connsiteX13" fmla="*/ 120815 w 354332"/>
                <a:gd name="connsiteY13" fmla="*/ 492238 h 499728"/>
                <a:gd name="connsiteX14" fmla="*/ 120815 w 354332"/>
                <a:gd name="connsiteY14" fmla="*/ 112704 h 499728"/>
                <a:gd name="connsiteX15" fmla="*/ 7464 w 354332"/>
                <a:gd name="connsiteY15" fmla="*/ 112704 h 499728"/>
                <a:gd name="connsiteX16" fmla="*/ 0 w 354332"/>
                <a:gd name="connsiteY16" fmla="*/ 103866 h 499728"/>
                <a:gd name="connsiteX17" fmla="*/ 354332 w 354332"/>
                <a:gd name="connsiteY17" fmla="*/ 103891 h 499728"/>
                <a:gd name="connsiteX18" fmla="*/ 346869 w 354332"/>
                <a:gd name="connsiteY18" fmla="*/ 112729 h 499728"/>
                <a:gd name="connsiteX19" fmla="*/ 232843 w 354332"/>
                <a:gd name="connsiteY19" fmla="*/ 112729 h 499728"/>
                <a:gd name="connsiteX20" fmla="*/ 232843 w 354332"/>
                <a:gd name="connsiteY20" fmla="*/ 492263 h 499728"/>
                <a:gd name="connsiteX21" fmla="*/ 225380 w 354332"/>
                <a:gd name="connsiteY21" fmla="*/ 499728 h 499728"/>
                <a:gd name="connsiteX22" fmla="*/ 217916 w 354332"/>
                <a:gd name="connsiteY22" fmla="*/ 492263 h 499728"/>
                <a:gd name="connsiteX23" fmla="*/ 217916 w 354332"/>
                <a:gd name="connsiteY23" fmla="*/ 103891 h 499728"/>
                <a:gd name="connsiteX24" fmla="*/ 225380 w 354332"/>
                <a:gd name="connsiteY24" fmla="*/ 96425 h 499728"/>
                <a:gd name="connsiteX25" fmla="*/ 346869 w 354332"/>
                <a:gd name="connsiteY25" fmla="*/ 96425 h 499728"/>
                <a:gd name="connsiteX26" fmla="*/ 354332 w 354332"/>
                <a:gd name="connsiteY26" fmla="*/ 103891 h 4997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354332" h="499728">
                  <a:moveTo>
                    <a:pt x="0" y="7465"/>
                  </a:moveTo>
                  <a:cubicBezTo>
                    <a:pt x="0" y="3396"/>
                    <a:pt x="3395" y="0"/>
                    <a:pt x="7464" y="0"/>
                  </a:cubicBezTo>
                  <a:lnTo>
                    <a:pt x="346170" y="0"/>
                  </a:lnTo>
                  <a:cubicBezTo>
                    <a:pt x="350912" y="0"/>
                    <a:pt x="354307" y="3396"/>
                    <a:pt x="354307" y="7465"/>
                  </a:cubicBezTo>
                  <a:cubicBezTo>
                    <a:pt x="354307" y="11535"/>
                    <a:pt x="350912" y="14931"/>
                    <a:pt x="346170" y="14931"/>
                  </a:cubicBezTo>
                  <a:lnTo>
                    <a:pt x="7464" y="14931"/>
                  </a:lnTo>
                  <a:cubicBezTo>
                    <a:pt x="3395" y="14931"/>
                    <a:pt x="0" y="11535"/>
                    <a:pt x="0" y="7465"/>
                  </a:cubicBezTo>
                  <a:close/>
                  <a:moveTo>
                    <a:pt x="0" y="103891"/>
                  </a:moveTo>
                  <a:cubicBezTo>
                    <a:pt x="0" y="99821"/>
                    <a:pt x="3395" y="96425"/>
                    <a:pt x="7464" y="96425"/>
                  </a:cubicBezTo>
                  <a:lnTo>
                    <a:pt x="128952" y="96425"/>
                  </a:lnTo>
                  <a:cubicBezTo>
                    <a:pt x="133021" y="96425"/>
                    <a:pt x="136416" y="99821"/>
                    <a:pt x="136416" y="103891"/>
                  </a:cubicBezTo>
                  <a:lnTo>
                    <a:pt x="136416" y="492238"/>
                  </a:lnTo>
                  <a:cubicBezTo>
                    <a:pt x="136416" y="496308"/>
                    <a:pt x="133021" y="499703"/>
                    <a:pt x="128952" y="499703"/>
                  </a:cubicBezTo>
                  <a:cubicBezTo>
                    <a:pt x="124210" y="499703"/>
                    <a:pt x="120815" y="496308"/>
                    <a:pt x="120815" y="492238"/>
                  </a:cubicBezTo>
                  <a:lnTo>
                    <a:pt x="120815" y="112704"/>
                  </a:lnTo>
                  <a:lnTo>
                    <a:pt x="7464" y="112704"/>
                  </a:lnTo>
                  <a:cubicBezTo>
                    <a:pt x="3395" y="112704"/>
                    <a:pt x="0" y="108634"/>
                    <a:pt x="0" y="103866"/>
                  </a:cubicBezTo>
                  <a:close/>
                  <a:moveTo>
                    <a:pt x="354332" y="103891"/>
                  </a:moveTo>
                  <a:cubicBezTo>
                    <a:pt x="354332" y="108634"/>
                    <a:pt x="350937" y="112729"/>
                    <a:pt x="346869" y="112729"/>
                  </a:cubicBezTo>
                  <a:lnTo>
                    <a:pt x="232843" y="112729"/>
                  </a:lnTo>
                  <a:lnTo>
                    <a:pt x="232843" y="492263"/>
                  </a:lnTo>
                  <a:cubicBezTo>
                    <a:pt x="232843" y="496333"/>
                    <a:pt x="229449" y="499728"/>
                    <a:pt x="225380" y="499728"/>
                  </a:cubicBezTo>
                  <a:cubicBezTo>
                    <a:pt x="221311" y="499728"/>
                    <a:pt x="217916" y="496333"/>
                    <a:pt x="217916" y="492263"/>
                  </a:cubicBezTo>
                  <a:lnTo>
                    <a:pt x="217916" y="103891"/>
                  </a:lnTo>
                  <a:cubicBezTo>
                    <a:pt x="217916" y="99821"/>
                    <a:pt x="221311" y="96425"/>
                    <a:pt x="225380" y="96425"/>
                  </a:cubicBezTo>
                  <a:lnTo>
                    <a:pt x="346869" y="96425"/>
                  </a:lnTo>
                  <a:cubicBezTo>
                    <a:pt x="350937" y="96425"/>
                    <a:pt x="354332" y="99821"/>
                    <a:pt x="354332" y="103891"/>
                  </a:cubicBezTo>
                  <a:close/>
                </a:path>
              </a:pathLst>
            </a:cu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2400"/>
            </a:p>
          </p:txBody>
        </p:sp>
        <p:sp>
          <p:nvSpPr>
            <p:cNvPr id="34" name="Forme libre 33">
              <a:extLst>
                <a:ext uri="{FF2B5EF4-FFF2-40B4-BE49-F238E27FC236}">
                  <a16:creationId xmlns:a16="http://schemas.microsoft.com/office/drawing/2014/main" id="{8D176F9F-8760-447E-81CE-9C54D39AE61B}"/>
                </a:ext>
              </a:extLst>
            </p:cNvPr>
            <p:cNvSpPr/>
            <p:nvPr/>
          </p:nvSpPr>
          <p:spPr>
            <a:xfrm>
              <a:off x="3858507" y="580085"/>
              <a:ext cx="314138" cy="506329"/>
            </a:xfrm>
            <a:custGeom>
              <a:avLst/>
              <a:gdLst>
                <a:gd name="connsiteX0" fmla="*/ 12101 w 314138"/>
                <a:gd name="connsiteY0" fmla="*/ 457035 h 506329"/>
                <a:gd name="connsiteX1" fmla="*/ 260545 w 314138"/>
                <a:gd name="connsiteY1" fmla="*/ 450244 h 506329"/>
                <a:gd name="connsiteX2" fmla="*/ 259197 w 314138"/>
                <a:gd name="connsiteY2" fmla="*/ 265583 h 506329"/>
                <a:gd name="connsiteX3" fmla="*/ 104435 w 314138"/>
                <a:gd name="connsiteY3" fmla="*/ 154227 h 506329"/>
                <a:gd name="connsiteX4" fmla="*/ 158726 w 314138"/>
                <a:gd name="connsiteY4" fmla="*/ 98549 h 506329"/>
                <a:gd name="connsiteX5" fmla="*/ 261219 w 314138"/>
                <a:gd name="connsiteY5" fmla="*/ 118923 h 506329"/>
                <a:gd name="connsiteX6" fmla="*/ 255104 w 314138"/>
                <a:gd name="connsiteY6" fmla="*/ 133180 h 506329"/>
                <a:gd name="connsiteX7" fmla="*/ 158028 w 314138"/>
                <a:gd name="connsiteY7" fmla="*/ 114179 h 506329"/>
                <a:gd name="connsiteX8" fmla="*/ 120011 w 314138"/>
                <a:gd name="connsiteY8" fmla="*/ 152205 h 506329"/>
                <a:gd name="connsiteX9" fmla="*/ 134938 w 314138"/>
                <a:gd name="connsiteY9" fmla="*/ 180718 h 506329"/>
                <a:gd name="connsiteX10" fmla="*/ 314138 w 314138"/>
                <a:gd name="connsiteY10" fmla="*/ 351822 h 506329"/>
                <a:gd name="connsiteX11" fmla="*/ 81320 w 314138"/>
                <a:gd name="connsiteY11" fmla="*/ 498482 h 506329"/>
                <a:gd name="connsiteX12" fmla="*/ 3939 w 314138"/>
                <a:gd name="connsiteY12" fmla="*/ 470643 h 506329"/>
                <a:gd name="connsiteX13" fmla="*/ 12076 w 314138"/>
                <a:gd name="connsiteY13" fmla="*/ 457060 h 506329"/>
                <a:gd name="connsiteX14" fmla="*/ 267984 w 314138"/>
                <a:gd name="connsiteY14" fmla="*/ 35406 h 506329"/>
                <a:gd name="connsiteX15" fmla="*/ 58231 w 314138"/>
                <a:gd name="connsiteY15" fmla="*/ 58501 h 506329"/>
                <a:gd name="connsiteX16" fmla="*/ 62299 w 314138"/>
                <a:gd name="connsiteY16" fmla="*/ 243861 h 506329"/>
                <a:gd name="connsiteX17" fmla="*/ 215714 w 314138"/>
                <a:gd name="connsiteY17" fmla="*/ 352496 h 506329"/>
                <a:gd name="connsiteX18" fmla="*/ 157329 w 314138"/>
                <a:gd name="connsiteY18" fmla="*/ 408848 h 506329"/>
                <a:gd name="connsiteX19" fmla="*/ 16145 w 314138"/>
                <a:gd name="connsiteY19" fmla="*/ 368800 h 506329"/>
                <a:gd name="connsiteX20" fmla="*/ 24981 w 314138"/>
                <a:gd name="connsiteY20" fmla="*/ 355891 h 506329"/>
                <a:gd name="connsiteX21" fmla="*/ 189255 w 314138"/>
                <a:gd name="connsiteY21" fmla="*/ 379661 h 506329"/>
                <a:gd name="connsiteX22" fmla="*/ 187208 w 314138"/>
                <a:gd name="connsiteY22" fmla="*/ 326030 h 506329"/>
                <a:gd name="connsiteX23" fmla="*/ 6660 w 314138"/>
                <a:gd name="connsiteY23" fmla="*/ 155625 h 506329"/>
                <a:gd name="connsiteX24" fmla="*/ 198066 w 314138"/>
                <a:gd name="connsiteY24" fmla="*/ 2174 h 506329"/>
                <a:gd name="connsiteX25" fmla="*/ 273401 w 314138"/>
                <a:gd name="connsiteY25" fmla="*/ 21174 h 506329"/>
                <a:gd name="connsiteX26" fmla="*/ 267959 w 314138"/>
                <a:gd name="connsiteY26" fmla="*/ 35431 h 5063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314138" h="506329">
                  <a:moveTo>
                    <a:pt x="12101" y="457035"/>
                  </a:moveTo>
                  <a:cubicBezTo>
                    <a:pt x="90157" y="497783"/>
                    <a:pt x="200113" y="510666"/>
                    <a:pt x="260545" y="450244"/>
                  </a:cubicBezTo>
                  <a:cubicBezTo>
                    <a:pt x="306700" y="403405"/>
                    <a:pt x="316884" y="318540"/>
                    <a:pt x="259197" y="265583"/>
                  </a:cubicBezTo>
                  <a:cubicBezTo>
                    <a:pt x="192675" y="203114"/>
                    <a:pt x="108503" y="216022"/>
                    <a:pt x="104435" y="154227"/>
                  </a:cubicBezTo>
                  <a:cubicBezTo>
                    <a:pt x="103087" y="122993"/>
                    <a:pt x="127524" y="99923"/>
                    <a:pt x="158726" y="98549"/>
                  </a:cubicBezTo>
                  <a:cubicBezTo>
                    <a:pt x="191302" y="96502"/>
                    <a:pt x="221855" y="102619"/>
                    <a:pt x="261219" y="118923"/>
                  </a:cubicBezTo>
                  <a:cubicBezTo>
                    <a:pt x="270730" y="122993"/>
                    <a:pt x="264614" y="137249"/>
                    <a:pt x="255104" y="133180"/>
                  </a:cubicBezTo>
                  <a:cubicBezTo>
                    <a:pt x="231340" y="123667"/>
                    <a:pt x="189929" y="110783"/>
                    <a:pt x="158028" y="114179"/>
                  </a:cubicBezTo>
                  <a:cubicBezTo>
                    <a:pt x="137659" y="116901"/>
                    <a:pt x="119337" y="129110"/>
                    <a:pt x="120011" y="152205"/>
                  </a:cubicBezTo>
                  <a:cubicBezTo>
                    <a:pt x="120011" y="162392"/>
                    <a:pt x="125452" y="173253"/>
                    <a:pt x="134938" y="180718"/>
                  </a:cubicBezTo>
                  <a:cubicBezTo>
                    <a:pt x="165491" y="203813"/>
                    <a:pt x="314138" y="228931"/>
                    <a:pt x="314138" y="351822"/>
                  </a:cubicBezTo>
                  <a:cubicBezTo>
                    <a:pt x="314138" y="474713"/>
                    <a:pt x="204856" y="527669"/>
                    <a:pt x="81320" y="498482"/>
                  </a:cubicBezTo>
                  <a:cubicBezTo>
                    <a:pt x="56883" y="493039"/>
                    <a:pt x="31097" y="484225"/>
                    <a:pt x="3939" y="470643"/>
                  </a:cubicBezTo>
                  <a:cubicBezTo>
                    <a:pt x="-4898" y="465899"/>
                    <a:pt x="2591" y="452317"/>
                    <a:pt x="12076" y="457060"/>
                  </a:cubicBezTo>
                  <a:close/>
                  <a:moveTo>
                    <a:pt x="267984" y="35406"/>
                  </a:moveTo>
                  <a:cubicBezTo>
                    <a:pt x="195345" y="10289"/>
                    <a:pt x="111873" y="102"/>
                    <a:pt x="58231" y="58501"/>
                  </a:cubicBezTo>
                  <a:cubicBezTo>
                    <a:pt x="14797" y="105341"/>
                    <a:pt x="3939" y="191579"/>
                    <a:pt x="62299" y="243861"/>
                  </a:cubicBezTo>
                  <a:cubicBezTo>
                    <a:pt x="128822" y="301562"/>
                    <a:pt x="211621" y="290027"/>
                    <a:pt x="215714" y="352496"/>
                  </a:cubicBezTo>
                  <a:cubicBezTo>
                    <a:pt x="217761" y="384404"/>
                    <a:pt x="189255" y="406800"/>
                    <a:pt x="157329" y="408848"/>
                  </a:cubicBezTo>
                  <a:cubicBezTo>
                    <a:pt x="114569" y="411569"/>
                    <a:pt x="59578" y="400708"/>
                    <a:pt x="16145" y="368800"/>
                  </a:cubicBezTo>
                  <a:cubicBezTo>
                    <a:pt x="7309" y="362683"/>
                    <a:pt x="16819" y="350473"/>
                    <a:pt x="24981" y="355891"/>
                  </a:cubicBezTo>
                  <a:cubicBezTo>
                    <a:pt x="67741" y="385753"/>
                    <a:pt x="155307" y="410895"/>
                    <a:pt x="189255" y="379661"/>
                  </a:cubicBezTo>
                  <a:cubicBezTo>
                    <a:pt x="205555" y="364730"/>
                    <a:pt x="202834" y="340287"/>
                    <a:pt x="187208" y="326030"/>
                  </a:cubicBezTo>
                  <a:cubicBezTo>
                    <a:pt x="155307" y="299539"/>
                    <a:pt x="6660" y="281887"/>
                    <a:pt x="6660" y="155625"/>
                  </a:cubicBezTo>
                  <a:cubicBezTo>
                    <a:pt x="6660" y="50387"/>
                    <a:pt x="88784" y="-12757"/>
                    <a:pt x="198066" y="2174"/>
                  </a:cubicBezTo>
                  <a:cubicBezTo>
                    <a:pt x="217062" y="4896"/>
                    <a:pt x="241500" y="10313"/>
                    <a:pt x="273401" y="21174"/>
                  </a:cubicBezTo>
                  <a:cubicBezTo>
                    <a:pt x="282911" y="24570"/>
                    <a:pt x="277470" y="39501"/>
                    <a:pt x="267959" y="35431"/>
                  </a:cubicBezTo>
                  <a:close/>
                </a:path>
              </a:pathLst>
            </a:cu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2400"/>
            </a:p>
          </p:txBody>
        </p:sp>
      </p:grpSp>
    </p:spTree>
    <p:extLst>
      <p:ext uri="{BB962C8B-B14F-4D97-AF65-F5344CB8AC3E}">
        <p14:creationId xmlns:p14="http://schemas.microsoft.com/office/powerpoint/2010/main" val="10571386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117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Image 11">
            <a:extLst>
              <a:ext uri="{FF2B5EF4-FFF2-40B4-BE49-F238E27FC236}">
                <a16:creationId xmlns:a16="http://schemas.microsoft.com/office/drawing/2014/main" id="{1A940BA4-9E1A-5144-7E12-6FBC6472512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1388"/>
            <a:ext cx="12192000" cy="6858000"/>
          </a:xfrm>
          <a:prstGeom prst="rect">
            <a:avLst/>
          </a:prstGeom>
        </p:spPr>
      </p:pic>
      <p:pic>
        <p:nvPicPr>
          <p:cNvPr id="6" name="Graphique 5">
            <a:extLst>
              <a:ext uri="{FF2B5EF4-FFF2-40B4-BE49-F238E27FC236}">
                <a16:creationId xmlns:a16="http://schemas.microsoft.com/office/drawing/2014/main" id="{C1FE5FFB-8AFB-AEF1-7FEF-EAD06EC9441B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0" y="1269168"/>
            <a:ext cx="12193819" cy="5588833"/>
          </a:xfrm>
          <a:prstGeom prst="rect">
            <a:avLst/>
          </a:prstGeom>
        </p:spPr>
      </p:pic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2AFC9822-05ED-FC4D-6735-F51D784CBD7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61548206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51" imgH="351" progId="TCLayout.ActiveDocument.1">
                  <p:embed/>
                </p:oleObj>
              </mc:Choice>
              <mc:Fallback>
                <p:oleObj name="think-cell Slide" r:id="rId5" imgW="351" imgH="351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AFC9822-05ED-FC4D-6735-F51D784CBD7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think-cell data - do not delete" hidden="1">
            <a:extLst>
              <a:ext uri="{FF2B5EF4-FFF2-40B4-BE49-F238E27FC236}">
                <a16:creationId xmlns:a16="http://schemas.microsoft.com/office/drawing/2014/main" id="{0EB2C4CA-695A-0C9A-2824-B755BC9DF930}"/>
              </a:ext>
            </a:extLst>
          </p:cNvPr>
          <p:cNvPicPr/>
          <p:nvPr/>
        </p:nvPicPr>
        <p:blipFill>
          <a:blip r:embed="rId6"/>
          <a:stretch>
            <a:fillRect/>
          </a:stretch>
        </p:blipFill>
        <p:spPr>
          <a:xfrm>
            <a:off x="2118" y="2118"/>
            <a:ext cx="2117" cy="2117"/>
          </a:xfrm>
          <a:prstGeom prst="rect">
            <a:avLst/>
          </a:prstGeom>
        </p:spPr>
      </p:pic>
      <p:sp>
        <p:nvSpPr>
          <p:cNvPr id="2" name="Footer Placeholder 4">
            <a:extLst>
              <a:ext uri="{FF2B5EF4-FFF2-40B4-BE49-F238E27FC236}">
                <a16:creationId xmlns:a16="http://schemas.microsoft.com/office/drawing/2014/main" id="{A9A72F10-A40D-0565-AC0F-28DAFD9285D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41629" y="6439624"/>
            <a:ext cx="4114800" cy="143629"/>
          </a:xfrm>
          <a:prstGeom prst="rect">
            <a:avLst/>
          </a:prstGeom>
        </p:spPr>
        <p:txBody>
          <a:bodyPr vert="horz" lIns="0" tIns="0" rIns="0" bIns="0" rtlCol="0" anchor="b">
            <a:spAutoFit/>
          </a:bodyPr>
          <a:lstStyle>
            <a:lvl1pPr algn="ctr" rtl="0">
              <a:defRPr sz="933">
                <a:solidFill>
                  <a:schemeClr val="accent1"/>
                </a:solidFill>
              </a:defRPr>
            </a:lvl1pPr>
          </a:lstStyle>
          <a:p>
            <a:r>
              <a:rPr lang="en-GB"/>
              <a:t>THIS IS THE NAME OF THE PRESENTATION</a:t>
            </a:r>
            <a:endParaRPr lang="en-GB" dirty="0"/>
          </a:p>
        </p:txBody>
      </p:sp>
      <p:pic>
        <p:nvPicPr>
          <p:cNvPr id="4" name="Graphic 2">
            <a:extLst>
              <a:ext uri="{FF2B5EF4-FFF2-40B4-BE49-F238E27FC236}">
                <a16:creationId xmlns:a16="http://schemas.microsoft.com/office/drawing/2014/main" id="{FCD1C299-A7C7-63A8-2FEC-688C5A72002B}"/>
              </a:ext>
            </a:extLst>
          </p:cNvPr>
          <p:cNvPicPr>
            <a:picLocks noChangeAspect="1"/>
          </p:cNvPicPr>
          <p:nvPr userDrawn="1"/>
        </p:nvPicPr>
        <p:blipFill>
          <a:blip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966423" y="6258027"/>
            <a:ext cx="779032" cy="325227"/>
          </a:xfrm>
          <a:prstGeom prst="rect">
            <a:avLst/>
          </a:prstGeom>
        </p:spPr>
      </p:pic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18AAE976-33DF-3E60-5582-89A3378B10B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58084" y="6434426"/>
            <a:ext cx="315017" cy="143629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 rtl="0">
              <a:defRPr sz="933">
                <a:solidFill>
                  <a:schemeClr val="accent1"/>
                </a:solidFill>
              </a:defRPr>
            </a:lvl1pPr>
          </a:lstStyle>
          <a:p>
            <a:fld id="{809B0AF7-3924-4693-AD32-8215A039798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Title 3">
            <a:extLst>
              <a:ext uri="{FF2B5EF4-FFF2-40B4-BE49-F238E27FC236}">
                <a16:creationId xmlns:a16="http://schemas.microsoft.com/office/drawing/2014/main" id="{2FD3A769-1C68-D737-0BAF-DCB0DC71EB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40309" y="4025627"/>
            <a:ext cx="8640000" cy="1403461"/>
          </a:xfrm>
          <a:prstGeom prst="rect">
            <a:avLst/>
          </a:prstGeom>
        </p:spPr>
        <p:txBody>
          <a:bodyPr vert="horz" lIns="0" tIns="0" rIns="0" bIns="0" anchor="b">
            <a:noAutofit/>
          </a:bodyPr>
          <a:lstStyle>
            <a:lvl1pPr rtl="0">
              <a:lnSpc>
                <a:spcPct val="90000"/>
              </a:lnSpc>
              <a:defRPr sz="5067" b="1" cap="all" spc="0" baseline="0">
                <a:gradFill>
                  <a:gsLst>
                    <a:gs pos="0">
                      <a:schemeClr val="accent5"/>
                    </a:gs>
                    <a:gs pos="100000">
                      <a:schemeClr val="accent6"/>
                    </a:gs>
                  </a:gsLst>
                  <a:lin ang="0" scaled="1"/>
                </a:gradFill>
                <a:latin typeface="+mj-lt"/>
              </a:defRPr>
            </a:lvl1pPr>
          </a:lstStyle>
          <a:p>
            <a:r>
              <a:rPr lang="en-GB" noProof="0" dirty="0"/>
              <a:t>THIS IS THE </a:t>
            </a:r>
            <a:br>
              <a:rPr lang="en-GB" noProof="0" dirty="0"/>
            </a:br>
            <a:r>
              <a:rPr lang="en-GB" noProof="0" dirty="0"/>
              <a:t>SECTION NAME</a:t>
            </a: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912BD708-BD4F-9C3F-C4D1-3134511C82D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40309" y="5447222"/>
            <a:ext cx="8640000" cy="430887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buNone/>
              <a:defRPr>
                <a:solidFill>
                  <a:schemeClr val="accent1"/>
                </a:solidFill>
              </a:defRPr>
            </a:lvl1pPr>
          </a:lstStyle>
          <a:p>
            <a:r>
              <a:rPr lang="en-GB" dirty="0"/>
              <a:t>This is the subtitle of the section</a:t>
            </a:r>
          </a:p>
        </p:txBody>
      </p:sp>
      <p:sp>
        <p:nvSpPr>
          <p:cNvPr id="9" name="ZoneTexte 8">
            <a:extLst>
              <a:ext uri="{FF2B5EF4-FFF2-40B4-BE49-F238E27FC236}">
                <a16:creationId xmlns:a16="http://schemas.microsoft.com/office/drawing/2014/main" id="{50D942C5-1F16-26E0-B695-9263FE019B87}"/>
              </a:ext>
            </a:extLst>
          </p:cNvPr>
          <p:cNvSpPr txBox="1"/>
          <p:nvPr userDrawn="1"/>
        </p:nvSpPr>
        <p:spPr>
          <a:xfrm>
            <a:off x="707606" y="1238996"/>
            <a:ext cx="2307042" cy="264687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6600" dirty="0">
                <a:solidFill>
                  <a:schemeClr val="bg1"/>
                </a:solidFill>
                <a:latin typeface="Lovelo Line Light" pitchFamily="50" charset="0"/>
              </a:rPr>
              <a:t>01</a:t>
            </a:r>
            <a:endParaRPr lang="fr-FR" sz="2000" dirty="0">
              <a:solidFill>
                <a:schemeClr val="bg1"/>
              </a:solidFill>
              <a:latin typeface="Lovelo Line Light" pitchFamily="50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9206532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V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Image 12">
            <a:extLst>
              <a:ext uri="{FF2B5EF4-FFF2-40B4-BE49-F238E27FC236}">
                <a16:creationId xmlns:a16="http://schemas.microsoft.com/office/drawing/2014/main" id="{0D683DEB-62DF-F73D-8B34-D1656437374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1388"/>
            <a:ext cx="12192000" cy="6858000"/>
          </a:xfrm>
          <a:prstGeom prst="rect">
            <a:avLst/>
          </a:prstGeom>
        </p:spPr>
      </p:pic>
      <p:pic>
        <p:nvPicPr>
          <p:cNvPr id="14" name="Graphique 13">
            <a:extLst>
              <a:ext uri="{FF2B5EF4-FFF2-40B4-BE49-F238E27FC236}">
                <a16:creationId xmlns:a16="http://schemas.microsoft.com/office/drawing/2014/main" id="{706361C9-FA49-A04D-6790-FA105B9BA3BE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0" y="2040469"/>
            <a:ext cx="12192000" cy="481753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8F44A81B-64AE-A967-CA2C-06BC269315F9}"/>
              </a:ext>
            </a:extLst>
          </p:cNvPr>
          <p:cNvSpPr/>
          <p:nvPr userDrawn="1"/>
        </p:nvSpPr>
        <p:spPr>
          <a:xfrm>
            <a:off x="235529" y="189845"/>
            <a:ext cx="11720945" cy="5520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67" noProof="0" dirty="0"/>
          </a:p>
        </p:txBody>
      </p:sp>
      <p:graphicFrame>
        <p:nvGraphicFramePr>
          <p:cNvPr id="11" name="think-cell data - do not delete" hidden="1">
            <a:extLst>
              <a:ext uri="{FF2B5EF4-FFF2-40B4-BE49-F238E27FC236}">
                <a16:creationId xmlns:a16="http://schemas.microsoft.com/office/drawing/2014/main" id="{C1DEA4DA-6D1B-2DEE-6632-69E289EA7C9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55015059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51" imgH="351" progId="TCLayout.ActiveDocument.1">
                  <p:embed/>
                </p:oleObj>
              </mc:Choice>
              <mc:Fallback>
                <p:oleObj name="think-cell Slide" r:id="rId5" imgW="351" imgH="351" progId="TCLayout.ActiveDocument.1">
                  <p:embed/>
                  <p:pic>
                    <p:nvPicPr>
                      <p:cNvPr id="1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1DEA4DA-6D1B-2DEE-6632-69E289EA7C9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think-cell data - do not delete" hidden="1">
            <a:extLst>
              <a:ext uri="{FF2B5EF4-FFF2-40B4-BE49-F238E27FC236}">
                <a16:creationId xmlns:a16="http://schemas.microsoft.com/office/drawing/2014/main" id="{EF19ED2E-A7C5-D5C0-EFA6-D0696BBA41F9}"/>
              </a:ext>
            </a:extLst>
          </p:cNvPr>
          <p:cNvPicPr/>
          <p:nvPr/>
        </p:nvPicPr>
        <p:blipFill>
          <a:blip r:embed="rId6"/>
          <a:stretch>
            <a:fillRect/>
          </a:stretch>
        </p:blipFill>
        <p:spPr>
          <a:xfrm>
            <a:off x="2118" y="2118"/>
            <a:ext cx="2117" cy="2117"/>
          </a:xfrm>
          <a:prstGeom prst="rect">
            <a:avLst/>
          </a:prstGeom>
        </p:spPr>
      </p:pic>
      <p:sp>
        <p:nvSpPr>
          <p:cNvPr id="6" name="Title 4">
            <a:extLst>
              <a:ext uri="{FF2B5EF4-FFF2-40B4-BE49-F238E27FC236}">
                <a16:creationId xmlns:a16="http://schemas.microsoft.com/office/drawing/2014/main" id="{4FF03EB5-7A17-8E6E-C58E-9CF1F64E99A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6655" y="2956930"/>
            <a:ext cx="3308252" cy="820737"/>
          </a:xfrm>
          <a:prstGeom prst="rect">
            <a:avLst/>
          </a:prstGeom>
        </p:spPr>
        <p:txBody>
          <a:bodyPr vert="horz" lIns="0" tIns="0" rIns="0" bIns="0" anchor="b">
            <a:noAutofit/>
          </a:bodyPr>
          <a:lstStyle>
            <a:lvl1pPr rtl="0">
              <a:lnSpc>
                <a:spcPct val="100000"/>
              </a:lnSpc>
              <a:defRPr sz="2667" b="1" cap="all" spc="53" baseline="0">
                <a:solidFill>
                  <a:schemeClr val="accent1"/>
                </a:solidFill>
              </a:defRPr>
            </a:lvl1pPr>
          </a:lstStyle>
          <a:p>
            <a:r>
              <a:rPr lang="en-GB" noProof="0" dirty="0"/>
              <a:t>THIS IS THE</a:t>
            </a:r>
            <a:br>
              <a:rPr lang="en-GB" noProof="0" dirty="0"/>
            </a:br>
            <a:r>
              <a:rPr lang="en-GB" noProof="0" dirty="0"/>
              <a:t>SLIDE TITLE</a:t>
            </a:r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C1BBE402-9C40-E7BE-C8EC-4E3C6C54B66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56655" y="3818998"/>
            <a:ext cx="3308252" cy="246221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buNone/>
              <a:defRPr sz="1600" cap="none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noProof="0" dirty="0"/>
              <a:t>This is the slide subtitle</a:t>
            </a:r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69AEBC9A-1C00-0D4E-D133-76FAC5C16E2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771587" y="626112"/>
            <a:ext cx="6986919" cy="246221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buNone/>
              <a:defRPr sz="1600" b="1" cap="all" baseline="0">
                <a:gradFill>
                  <a:gsLst>
                    <a:gs pos="0">
                      <a:schemeClr val="accent5"/>
                    </a:gs>
                    <a:gs pos="100000">
                      <a:schemeClr val="accent6"/>
                    </a:gs>
                  </a:gsLst>
                  <a:lin ang="0" scaled="1"/>
                </a:gradFill>
              </a:defRPr>
            </a:lvl1pPr>
          </a:lstStyle>
          <a:p>
            <a:pPr lvl="0"/>
            <a:r>
              <a:rPr lang="en-GB" noProof="0" dirty="0"/>
              <a:t>THIS IS THE TITLE OF A PARAGRAPH</a:t>
            </a:r>
          </a:p>
        </p:txBody>
      </p:sp>
      <p:sp>
        <p:nvSpPr>
          <p:cNvPr id="15" name="Text Placeholder 7">
            <a:extLst>
              <a:ext uri="{FF2B5EF4-FFF2-40B4-BE49-F238E27FC236}">
                <a16:creationId xmlns:a16="http://schemas.microsoft.com/office/drawing/2014/main" id="{83146A7F-87C2-3C49-7536-FB11AD80192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771587" y="2907994"/>
            <a:ext cx="6986919" cy="246221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buNone/>
              <a:defRPr sz="1600" b="1" cap="all" baseline="0">
                <a:gradFill>
                  <a:gsLst>
                    <a:gs pos="0">
                      <a:schemeClr val="accent5"/>
                    </a:gs>
                    <a:gs pos="100000">
                      <a:schemeClr val="accent6"/>
                    </a:gs>
                  </a:gsLst>
                  <a:lin ang="0" scaled="1"/>
                </a:gradFill>
              </a:defRPr>
            </a:lvl1pPr>
          </a:lstStyle>
          <a:p>
            <a:pPr lvl="0"/>
            <a:r>
              <a:rPr lang="en-GB" noProof="0" dirty="0"/>
              <a:t>THIS IS THE TITLE OF A PARAGRAPH</a:t>
            </a:r>
          </a:p>
        </p:txBody>
      </p:sp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FF33AF13-865D-1FC6-BC17-30B527E0833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71587" y="952098"/>
            <a:ext cx="6986919" cy="1606519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228594" indent="-228594" rtl="0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67" b="0">
                <a:solidFill>
                  <a:schemeClr val="accent1"/>
                </a:solidFill>
              </a:defRPr>
            </a:lvl1pPr>
            <a:lvl2pPr marL="460788" indent="-228594" rtl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>
                <a:schemeClr val="accent1"/>
              </a:buClr>
              <a:buFont typeface="Arial" panose="020B0604020202020204" pitchFamily="34" charset="0"/>
              <a:buChar char="-"/>
              <a:defRPr sz="1400">
                <a:solidFill>
                  <a:schemeClr val="accent1"/>
                </a:solidFill>
              </a:defRPr>
            </a:lvl2pPr>
            <a:lvl3pPr marL="691183" indent="-228594" rtl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333">
                <a:solidFill>
                  <a:schemeClr val="accent1"/>
                </a:solidFill>
              </a:defRPr>
            </a:lvl3pPr>
          </a:lstStyle>
          <a:p>
            <a:pPr lvl="0"/>
            <a:r>
              <a:rPr lang="en-GB" noProof="0" dirty="0"/>
              <a:t>First level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id="{0EF79C59-10F3-C731-977B-A0E34E8842F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71587" y="3244139"/>
            <a:ext cx="6986919" cy="2445461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228594" indent="-228594" rtl="0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67" b="0">
                <a:solidFill>
                  <a:schemeClr val="accent1"/>
                </a:solidFill>
              </a:defRPr>
            </a:lvl1pPr>
            <a:lvl2pPr marL="460788" indent="-228594" rtl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>
                <a:schemeClr val="accent1"/>
              </a:buClr>
              <a:buFont typeface="Arial" panose="020B0604020202020204" pitchFamily="34" charset="0"/>
              <a:buChar char="-"/>
              <a:defRPr sz="1400">
                <a:solidFill>
                  <a:schemeClr val="accent1"/>
                </a:solidFill>
              </a:defRPr>
            </a:lvl2pPr>
            <a:lvl3pPr marL="691183" indent="-228594" rtl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333">
                <a:solidFill>
                  <a:schemeClr val="accent1"/>
                </a:solidFill>
              </a:defRPr>
            </a:lvl3pPr>
          </a:lstStyle>
          <a:p>
            <a:pPr lvl="0"/>
            <a:r>
              <a:rPr lang="en-GB" noProof="0" dirty="0"/>
              <a:t>First level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</p:txBody>
      </p:sp>
      <p:pic>
        <p:nvPicPr>
          <p:cNvPr id="8" name="Graphic 2">
            <a:extLst>
              <a:ext uri="{FF2B5EF4-FFF2-40B4-BE49-F238E27FC236}">
                <a16:creationId xmlns:a16="http://schemas.microsoft.com/office/drawing/2014/main" id="{EF1A245B-466B-70EA-0CCA-ADB52990D341}"/>
              </a:ext>
            </a:extLst>
          </p:cNvPr>
          <p:cNvPicPr>
            <a:picLocks noChangeAspect="1"/>
          </p:cNvPicPr>
          <p:nvPr userDrawn="1"/>
        </p:nvPicPr>
        <p:blipFill>
          <a:blip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966423" y="6258027"/>
            <a:ext cx="779032" cy="325227"/>
          </a:xfrm>
          <a:prstGeom prst="rect">
            <a:avLst/>
          </a:prstGeom>
        </p:spPr>
      </p:pic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30CF8033-9AEA-06C0-DF47-4A712663D97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41629" y="6439624"/>
            <a:ext cx="4114800" cy="143629"/>
          </a:xfrm>
          <a:prstGeom prst="rect">
            <a:avLst/>
          </a:prstGeom>
        </p:spPr>
        <p:txBody>
          <a:bodyPr vert="horz" lIns="0" tIns="0" rIns="0" bIns="0" rtlCol="0" anchor="b">
            <a:spAutoFit/>
          </a:bodyPr>
          <a:lstStyle>
            <a:lvl1pPr algn="ctr" rtl="0">
              <a:defRPr sz="933">
                <a:solidFill>
                  <a:schemeClr val="accent1"/>
                </a:solidFill>
              </a:defRPr>
            </a:lvl1pPr>
          </a:lstStyle>
          <a:p>
            <a:r>
              <a:rPr lang="en-GB"/>
              <a:t>THIS IS THE NAME OF THE PRESENTATION</a:t>
            </a:r>
            <a:endParaRPr lang="en-GB" dirty="0"/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A7993BD9-E2F8-D783-0AF2-80B22EDDAF7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58084" y="6434426"/>
            <a:ext cx="315017" cy="143629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 rtl="0">
              <a:defRPr sz="933">
                <a:solidFill>
                  <a:schemeClr val="accent1"/>
                </a:solidFill>
              </a:defRPr>
            </a:lvl1pPr>
          </a:lstStyle>
          <a:p>
            <a:fld id="{809B0AF7-3924-4693-AD32-8215A0397987}" type="slidenum">
              <a:rPr lang="en-GB" smtClean="0"/>
              <a:pPr/>
              <a:t>‹#›</a:t>
            </a:fld>
            <a:endParaRPr lang="en-GB" dirty="0"/>
          </a:p>
        </p:txBody>
      </p:sp>
      <p:grpSp>
        <p:nvGrpSpPr>
          <p:cNvPr id="2" name="Graphique 10">
            <a:extLst>
              <a:ext uri="{FF2B5EF4-FFF2-40B4-BE49-F238E27FC236}">
                <a16:creationId xmlns:a16="http://schemas.microsoft.com/office/drawing/2014/main" id="{CBD2F091-29BD-EE0C-8748-1F78A47E4B66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673589" y="4151155"/>
            <a:ext cx="801047" cy="120000"/>
            <a:chOff x="3638550" y="2432050"/>
            <a:chExt cx="1862613" cy="279027"/>
          </a:xfrm>
          <a:gradFill flip="none" rotWithShape="1">
            <a:gsLst>
              <a:gs pos="0">
                <a:schemeClr val="accent5"/>
              </a:gs>
              <a:gs pos="100000">
                <a:schemeClr val="accent6"/>
              </a:gs>
            </a:gsLst>
            <a:lin ang="0" scaled="1"/>
            <a:tileRect/>
          </a:gradFill>
        </p:grpSpPr>
        <p:sp>
          <p:nvSpPr>
            <p:cNvPr id="3" name="Forme libre 2">
              <a:extLst>
                <a:ext uri="{FF2B5EF4-FFF2-40B4-BE49-F238E27FC236}">
                  <a16:creationId xmlns:a16="http://schemas.microsoft.com/office/drawing/2014/main" id="{1FF68425-1840-8053-035A-2890704B506A}"/>
                </a:ext>
              </a:extLst>
            </p:cNvPr>
            <p:cNvSpPr/>
            <p:nvPr/>
          </p:nvSpPr>
          <p:spPr>
            <a:xfrm>
              <a:off x="3638550" y="2436520"/>
              <a:ext cx="68198" cy="270086"/>
            </a:xfrm>
            <a:custGeom>
              <a:avLst/>
              <a:gdLst>
                <a:gd name="connsiteX0" fmla="*/ 68199 w 68198"/>
                <a:gd name="connsiteY0" fmla="*/ 270087 h 270086"/>
                <a:gd name="connsiteX1" fmla="*/ 0 w 68198"/>
                <a:gd name="connsiteY1" fmla="*/ 270087 h 270086"/>
                <a:gd name="connsiteX2" fmla="*/ 0 w 68198"/>
                <a:gd name="connsiteY2" fmla="*/ 0 h 270086"/>
                <a:gd name="connsiteX3" fmla="*/ 68199 w 68198"/>
                <a:gd name="connsiteY3" fmla="*/ 0 h 270086"/>
                <a:gd name="connsiteX4" fmla="*/ 68199 w 68198"/>
                <a:gd name="connsiteY4" fmla="*/ 270087 h 270086"/>
                <a:gd name="connsiteX5" fmla="*/ 9525 w 68198"/>
                <a:gd name="connsiteY5" fmla="*/ 260773 h 270086"/>
                <a:gd name="connsiteX6" fmla="*/ 58674 w 68198"/>
                <a:gd name="connsiteY6" fmla="*/ 260773 h 270086"/>
                <a:gd name="connsiteX7" fmla="*/ 58674 w 68198"/>
                <a:gd name="connsiteY7" fmla="*/ 9313 h 270086"/>
                <a:gd name="connsiteX8" fmla="*/ 9525 w 68198"/>
                <a:gd name="connsiteY8" fmla="*/ 9313 h 270086"/>
                <a:gd name="connsiteX9" fmla="*/ 9525 w 68198"/>
                <a:gd name="connsiteY9" fmla="*/ 260773 h 2700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68198" h="270086">
                  <a:moveTo>
                    <a:pt x="68199" y="270087"/>
                  </a:moveTo>
                  <a:lnTo>
                    <a:pt x="0" y="270087"/>
                  </a:lnTo>
                  <a:lnTo>
                    <a:pt x="0" y="0"/>
                  </a:lnTo>
                  <a:lnTo>
                    <a:pt x="68199" y="0"/>
                  </a:lnTo>
                  <a:lnTo>
                    <a:pt x="68199" y="270087"/>
                  </a:lnTo>
                  <a:close/>
                  <a:moveTo>
                    <a:pt x="9525" y="260773"/>
                  </a:moveTo>
                  <a:lnTo>
                    <a:pt x="58674" y="260773"/>
                  </a:lnTo>
                  <a:lnTo>
                    <a:pt x="58674" y="9313"/>
                  </a:lnTo>
                  <a:lnTo>
                    <a:pt x="9525" y="9313"/>
                  </a:lnTo>
                  <a:lnTo>
                    <a:pt x="9525" y="260773"/>
                  </a:lnTo>
                  <a:close/>
                </a:path>
              </a:pathLst>
            </a:cu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2400"/>
            </a:p>
          </p:txBody>
        </p:sp>
        <p:sp>
          <p:nvSpPr>
            <p:cNvPr id="25" name="Forme libre 24">
              <a:extLst>
                <a:ext uri="{FF2B5EF4-FFF2-40B4-BE49-F238E27FC236}">
                  <a16:creationId xmlns:a16="http://schemas.microsoft.com/office/drawing/2014/main" id="{6DE95D27-630C-FFE8-5A50-91AEA16BFDFC}"/>
                </a:ext>
              </a:extLst>
            </p:cNvPr>
            <p:cNvSpPr/>
            <p:nvPr/>
          </p:nvSpPr>
          <p:spPr>
            <a:xfrm>
              <a:off x="3752088" y="2432050"/>
              <a:ext cx="292989" cy="279027"/>
            </a:xfrm>
            <a:custGeom>
              <a:avLst/>
              <a:gdLst>
                <a:gd name="connsiteX0" fmla="*/ 146114 w 292989"/>
                <a:gd name="connsiteY0" fmla="*/ 279027 h 279027"/>
                <a:gd name="connsiteX1" fmla="*/ 0 w 292989"/>
                <a:gd name="connsiteY1" fmla="*/ 140259 h 279027"/>
                <a:gd name="connsiteX2" fmla="*/ 0 w 292989"/>
                <a:gd name="connsiteY2" fmla="*/ 139514 h 279027"/>
                <a:gd name="connsiteX3" fmla="*/ 146876 w 292989"/>
                <a:gd name="connsiteY3" fmla="*/ 0 h 279027"/>
                <a:gd name="connsiteX4" fmla="*/ 292989 w 292989"/>
                <a:gd name="connsiteY4" fmla="*/ 138769 h 279027"/>
                <a:gd name="connsiteX5" fmla="*/ 146114 w 292989"/>
                <a:gd name="connsiteY5" fmla="*/ 279027 h 279027"/>
                <a:gd name="connsiteX6" fmla="*/ 146876 w 292989"/>
                <a:gd name="connsiteY6" fmla="*/ 9313 h 279027"/>
                <a:gd name="connsiteX7" fmla="*/ 9525 w 292989"/>
                <a:gd name="connsiteY7" fmla="*/ 139514 h 279027"/>
                <a:gd name="connsiteX8" fmla="*/ 9525 w 292989"/>
                <a:gd name="connsiteY8" fmla="*/ 140259 h 279027"/>
                <a:gd name="connsiteX9" fmla="*/ 146114 w 292989"/>
                <a:gd name="connsiteY9" fmla="*/ 269714 h 279027"/>
                <a:gd name="connsiteX10" fmla="*/ 283464 w 292989"/>
                <a:gd name="connsiteY10" fmla="*/ 139514 h 279027"/>
                <a:gd name="connsiteX11" fmla="*/ 146876 w 292989"/>
                <a:gd name="connsiteY11" fmla="*/ 9313 h 279027"/>
                <a:gd name="connsiteX12" fmla="*/ 146876 w 292989"/>
                <a:gd name="connsiteY12" fmla="*/ 226128 h 279027"/>
                <a:gd name="connsiteX13" fmla="*/ 61341 w 292989"/>
                <a:gd name="connsiteY13" fmla="*/ 139514 h 279027"/>
                <a:gd name="connsiteX14" fmla="*/ 146114 w 292989"/>
                <a:gd name="connsiteY14" fmla="*/ 52900 h 279027"/>
                <a:gd name="connsiteX15" fmla="*/ 231648 w 292989"/>
                <a:gd name="connsiteY15" fmla="*/ 139514 h 279027"/>
                <a:gd name="connsiteX16" fmla="*/ 231648 w 292989"/>
                <a:gd name="connsiteY16" fmla="*/ 140259 h 279027"/>
                <a:gd name="connsiteX17" fmla="*/ 146876 w 292989"/>
                <a:gd name="connsiteY17" fmla="*/ 226128 h 279027"/>
                <a:gd name="connsiteX18" fmla="*/ 146114 w 292989"/>
                <a:gd name="connsiteY18" fmla="*/ 62213 h 279027"/>
                <a:gd name="connsiteX19" fmla="*/ 70866 w 292989"/>
                <a:gd name="connsiteY19" fmla="*/ 138769 h 279027"/>
                <a:gd name="connsiteX20" fmla="*/ 146876 w 292989"/>
                <a:gd name="connsiteY20" fmla="*/ 216814 h 279027"/>
                <a:gd name="connsiteX21" fmla="*/ 222123 w 292989"/>
                <a:gd name="connsiteY21" fmla="*/ 140259 h 279027"/>
                <a:gd name="connsiteX22" fmla="*/ 222123 w 292989"/>
                <a:gd name="connsiteY22" fmla="*/ 139514 h 279027"/>
                <a:gd name="connsiteX23" fmla="*/ 146114 w 292989"/>
                <a:gd name="connsiteY23" fmla="*/ 62213 h 2790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292989" h="279027">
                  <a:moveTo>
                    <a:pt x="146114" y="279027"/>
                  </a:moveTo>
                  <a:cubicBezTo>
                    <a:pt x="62865" y="279027"/>
                    <a:pt x="0" y="219422"/>
                    <a:pt x="0" y="140259"/>
                  </a:cubicBezTo>
                  <a:lnTo>
                    <a:pt x="0" y="139514"/>
                  </a:lnTo>
                  <a:cubicBezTo>
                    <a:pt x="0" y="61282"/>
                    <a:pt x="64484" y="0"/>
                    <a:pt x="146876" y="0"/>
                  </a:cubicBezTo>
                  <a:cubicBezTo>
                    <a:pt x="229267" y="0"/>
                    <a:pt x="292989" y="59605"/>
                    <a:pt x="292989" y="138769"/>
                  </a:cubicBezTo>
                  <a:cubicBezTo>
                    <a:pt x="292989" y="217932"/>
                    <a:pt x="228505" y="279027"/>
                    <a:pt x="146114" y="279027"/>
                  </a:cubicBezTo>
                  <a:close/>
                  <a:moveTo>
                    <a:pt x="146876" y="9313"/>
                  </a:moveTo>
                  <a:cubicBezTo>
                    <a:pt x="69914" y="9313"/>
                    <a:pt x="9525" y="66497"/>
                    <a:pt x="9525" y="139514"/>
                  </a:cubicBezTo>
                  <a:lnTo>
                    <a:pt x="9525" y="140259"/>
                  </a:lnTo>
                  <a:cubicBezTo>
                    <a:pt x="9525" y="214020"/>
                    <a:pt x="68199" y="269714"/>
                    <a:pt x="146114" y="269714"/>
                  </a:cubicBezTo>
                  <a:cubicBezTo>
                    <a:pt x="224028" y="269714"/>
                    <a:pt x="283464" y="212530"/>
                    <a:pt x="283464" y="139514"/>
                  </a:cubicBezTo>
                  <a:cubicBezTo>
                    <a:pt x="283464" y="66497"/>
                    <a:pt x="224695" y="9313"/>
                    <a:pt x="146876" y="9313"/>
                  </a:cubicBezTo>
                  <a:close/>
                  <a:moveTo>
                    <a:pt x="146876" y="226128"/>
                  </a:moveTo>
                  <a:cubicBezTo>
                    <a:pt x="98869" y="226128"/>
                    <a:pt x="61341" y="188129"/>
                    <a:pt x="61341" y="139514"/>
                  </a:cubicBezTo>
                  <a:cubicBezTo>
                    <a:pt x="61341" y="90898"/>
                    <a:pt x="97822" y="52900"/>
                    <a:pt x="146114" y="52900"/>
                  </a:cubicBezTo>
                  <a:cubicBezTo>
                    <a:pt x="194405" y="52900"/>
                    <a:pt x="231648" y="90898"/>
                    <a:pt x="231648" y="139514"/>
                  </a:cubicBezTo>
                  <a:lnTo>
                    <a:pt x="231648" y="140259"/>
                  </a:lnTo>
                  <a:cubicBezTo>
                    <a:pt x="231648" y="189247"/>
                    <a:pt x="195167" y="226128"/>
                    <a:pt x="146876" y="226128"/>
                  </a:cubicBezTo>
                  <a:close/>
                  <a:moveTo>
                    <a:pt x="146114" y="62213"/>
                  </a:moveTo>
                  <a:cubicBezTo>
                    <a:pt x="103251" y="62213"/>
                    <a:pt x="70866" y="95089"/>
                    <a:pt x="70866" y="138769"/>
                  </a:cubicBezTo>
                  <a:cubicBezTo>
                    <a:pt x="70866" y="182448"/>
                    <a:pt x="103537" y="216814"/>
                    <a:pt x="146876" y="216814"/>
                  </a:cubicBezTo>
                  <a:cubicBezTo>
                    <a:pt x="190214" y="216814"/>
                    <a:pt x="222123" y="183938"/>
                    <a:pt x="222123" y="140259"/>
                  </a:cubicBezTo>
                  <a:lnTo>
                    <a:pt x="222123" y="139514"/>
                  </a:lnTo>
                  <a:cubicBezTo>
                    <a:pt x="222123" y="95462"/>
                    <a:pt x="189452" y="62213"/>
                    <a:pt x="146114" y="62213"/>
                  </a:cubicBezTo>
                  <a:close/>
                </a:path>
              </a:pathLst>
            </a:cu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2400"/>
            </a:p>
          </p:txBody>
        </p:sp>
        <p:sp>
          <p:nvSpPr>
            <p:cNvPr id="26" name="Forme libre 25">
              <a:extLst>
                <a:ext uri="{FF2B5EF4-FFF2-40B4-BE49-F238E27FC236}">
                  <a16:creationId xmlns:a16="http://schemas.microsoft.com/office/drawing/2014/main" id="{78468774-7683-630A-398E-E771DF917A63}"/>
                </a:ext>
              </a:extLst>
            </p:cNvPr>
            <p:cNvSpPr/>
            <p:nvPr/>
          </p:nvSpPr>
          <p:spPr>
            <a:xfrm>
              <a:off x="4075937" y="2432050"/>
              <a:ext cx="292989" cy="279027"/>
            </a:xfrm>
            <a:custGeom>
              <a:avLst/>
              <a:gdLst>
                <a:gd name="connsiteX0" fmla="*/ 146114 w 292989"/>
                <a:gd name="connsiteY0" fmla="*/ 279027 h 279027"/>
                <a:gd name="connsiteX1" fmla="*/ 0 w 292989"/>
                <a:gd name="connsiteY1" fmla="*/ 140259 h 279027"/>
                <a:gd name="connsiteX2" fmla="*/ 0 w 292989"/>
                <a:gd name="connsiteY2" fmla="*/ 139514 h 279027"/>
                <a:gd name="connsiteX3" fmla="*/ 146876 w 292989"/>
                <a:gd name="connsiteY3" fmla="*/ 0 h 279027"/>
                <a:gd name="connsiteX4" fmla="*/ 292989 w 292989"/>
                <a:gd name="connsiteY4" fmla="*/ 138769 h 279027"/>
                <a:gd name="connsiteX5" fmla="*/ 146114 w 292989"/>
                <a:gd name="connsiteY5" fmla="*/ 279027 h 279027"/>
                <a:gd name="connsiteX6" fmla="*/ 146876 w 292989"/>
                <a:gd name="connsiteY6" fmla="*/ 9313 h 279027"/>
                <a:gd name="connsiteX7" fmla="*/ 9525 w 292989"/>
                <a:gd name="connsiteY7" fmla="*/ 139514 h 279027"/>
                <a:gd name="connsiteX8" fmla="*/ 9525 w 292989"/>
                <a:gd name="connsiteY8" fmla="*/ 140259 h 279027"/>
                <a:gd name="connsiteX9" fmla="*/ 146114 w 292989"/>
                <a:gd name="connsiteY9" fmla="*/ 269714 h 279027"/>
                <a:gd name="connsiteX10" fmla="*/ 283464 w 292989"/>
                <a:gd name="connsiteY10" fmla="*/ 139514 h 279027"/>
                <a:gd name="connsiteX11" fmla="*/ 146876 w 292989"/>
                <a:gd name="connsiteY11" fmla="*/ 9313 h 279027"/>
                <a:gd name="connsiteX12" fmla="*/ 146876 w 292989"/>
                <a:gd name="connsiteY12" fmla="*/ 226128 h 279027"/>
                <a:gd name="connsiteX13" fmla="*/ 61341 w 292989"/>
                <a:gd name="connsiteY13" fmla="*/ 139514 h 279027"/>
                <a:gd name="connsiteX14" fmla="*/ 146114 w 292989"/>
                <a:gd name="connsiteY14" fmla="*/ 52900 h 279027"/>
                <a:gd name="connsiteX15" fmla="*/ 231648 w 292989"/>
                <a:gd name="connsiteY15" fmla="*/ 139514 h 279027"/>
                <a:gd name="connsiteX16" fmla="*/ 231648 w 292989"/>
                <a:gd name="connsiteY16" fmla="*/ 140259 h 279027"/>
                <a:gd name="connsiteX17" fmla="*/ 146876 w 292989"/>
                <a:gd name="connsiteY17" fmla="*/ 226128 h 279027"/>
                <a:gd name="connsiteX18" fmla="*/ 146114 w 292989"/>
                <a:gd name="connsiteY18" fmla="*/ 62213 h 279027"/>
                <a:gd name="connsiteX19" fmla="*/ 70866 w 292989"/>
                <a:gd name="connsiteY19" fmla="*/ 138769 h 279027"/>
                <a:gd name="connsiteX20" fmla="*/ 146876 w 292989"/>
                <a:gd name="connsiteY20" fmla="*/ 216814 h 279027"/>
                <a:gd name="connsiteX21" fmla="*/ 222123 w 292989"/>
                <a:gd name="connsiteY21" fmla="*/ 140259 h 279027"/>
                <a:gd name="connsiteX22" fmla="*/ 222123 w 292989"/>
                <a:gd name="connsiteY22" fmla="*/ 139514 h 279027"/>
                <a:gd name="connsiteX23" fmla="*/ 146114 w 292989"/>
                <a:gd name="connsiteY23" fmla="*/ 62213 h 2790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292989" h="279027">
                  <a:moveTo>
                    <a:pt x="146114" y="279027"/>
                  </a:moveTo>
                  <a:cubicBezTo>
                    <a:pt x="62865" y="279027"/>
                    <a:pt x="0" y="219422"/>
                    <a:pt x="0" y="140259"/>
                  </a:cubicBezTo>
                  <a:lnTo>
                    <a:pt x="0" y="139514"/>
                  </a:lnTo>
                  <a:cubicBezTo>
                    <a:pt x="0" y="61282"/>
                    <a:pt x="64484" y="0"/>
                    <a:pt x="146876" y="0"/>
                  </a:cubicBezTo>
                  <a:cubicBezTo>
                    <a:pt x="229267" y="0"/>
                    <a:pt x="292989" y="59605"/>
                    <a:pt x="292989" y="138769"/>
                  </a:cubicBezTo>
                  <a:cubicBezTo>
                    <a:pt x="292989" y="217932"/>
                    <a:pt x="228505" y="279027"/>
                    <a:pt x="146114" y="279027"/>
                  </a:cubicBezTo>
                  <a:close/>
                  <a:moveTo>
                    <a:pt x="146876" y="9313"/>
                  </a:moveTo>
                  <a:cubicBezTo>
                    <a:pt x="69914" y="9313"/>
                    <a:pt x="9525" y="66497"/>
                    <a:pt x="9525" y="139514"/>
                  </a:cubicBezTo>
                  <a:lnTo>
                    <a:pt x="9525" y="140259"/>
                  </a:lnTo>
                  <a:cubicBezTo>
                    <a:pt x="9525" y="214020"/>
                    <a:pt x="68199" y="269714"/>
                    <a:pt x="146114" y="269714"/>
                  </a:cubicBezTo>
                  <a:cubicBezTo>
                    <a:pt x="224028" y="269714"/>
                    <a:pt x="283464" y="212530"/>
                    <a:pt x="283464" y="139514"/>
                  </a:cubicBezTo>
                  <a:cubicBezTo>
                    <a:pt x="283464" y="66497"/>
                    <a:pt x="224790" y="9313"/>
                    <a:pt x="146876" y="9313"/>
                  </a:cubicBezTo>
                  <a:close/>
                  <a:moveTo>
                    <a:pt x="146876" y="226128"/>
                  </a:moveTo>
                  <a:cubicBezTo>
                    <a:pt x="98870" y="226128"/>
                    <a:pt x="61341" y="188129"/>
                    <a:pt x="61341" y="139514"/>
                  </a:cubicBezTo>
                  <a:cubicBezTo>
                    <a:pt x="61341" y="90898"/>
                    <a:pt x="97822" y="52900"/>
                    <a:pt x="146114" y="52900"/>
                  </a:cubicBezTo>
                  <a:cubicBezTo>
                    <a:pt x="194405" y="52900"/>
                    <a:pt x="231648" y="90898"/>
                    <a:pt x="231648" y="139514"/>
                  </a:cubicBezTo>
                  <a:lnTo>
                    <a:pt x="231648" y="140259"/>
                  </a:lnTo>
                  <a:cubicBezTo>
                    <a:pt x="231648" y="189247"/>
                    <a:pt x="195167" y="226128"/>
                    <a:pt x="146876" y="226128"/>
                  </a:cubicBezTo>
                  <a:close/>
                  <a:moveTo>
                    <a:pt x="146114" y="62213"/>
                  </a:moveTo>
                  <a:cubicBezTo>
                    <a:pt x="103251" y="62213"/>
                    <a:pt x="70866" y="95089"/>
                    <a:pt x="70866" y="138769"/>
                  </a:cubicBezTo>
                  <a:cubicBezTo>
                    <a:pt x="70866" y="182448"/>
                    <a:pt x="103537" y="216814"/>
                    <a:pt x="146876" y="216814"/>
                  </a:cubicBezTo>
                  <a:cubicBezTo>
                    <a:pt x="190214" y="216814"/>
                    <a:pt x="222123" y="183938"/>
                    <a:pt x="222123" y="140259"/>
                  </a:cubicBezTo>
                  <a:lnTo>
                    <a:pt x="222123" y="139514"/>
                  </a:lnTo>
                  <a:cubicBezTo>
                    <a:pt x="222123" y="95462"/>
                    <a:pt x="189452" y="62213"/>
                    <a:pt x="146114" y="62213"/>
                  </a:cubicBezTo>
                  <a:close/>
                </a:path>
              </a:pathLst>
            </a:cu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2400"/>
            </a:p>
          </p:txBody>
        </p:sp>
        <p:sp>
          <p:nvSpPr>
            <p:cNvPr id="27" name="Forme libre 26">
              <a:extLst>
                <a:ext uri="{FF2B5EF4-FFF2-40B4-BE49-F238E27FC236}">
                  <a16:creationId xmlns:a16="http://schemas.microsoft.com/office/drawing/2014/main" id="{15F48DED-F40C-BB7E-5C16-BC2C9F054C6E}"/>
                </a:ext>
              </a:extLst>
            </p:cNvPr>
            <p:cNvSpPr/>
            <p:nvPr/>
          </p:nvSpPr>
          <p:spPr>
            <a:xfrm>
              <a:off x="4414266" y="2436520"/>
              <a:ext cx="68198" cy="270086"/>
            </a:xfrm>
            <a:custGeom>
              <a:avLst/>
              <a:gdLst>
                <a:gd name="connsiteX0" fmla="*/ 68199 w 68198"/>
                <a:gd name="connsiteY0" fmla="*/ 270087 h 270086"/>
                <a:gd name="connsiteX1" fmla="*/ 0 w 68198"/>
                <a:gd name="connsiteY1" fmla="*/ 270087 h 270086"/>
                <a:gd name="connsiteX2" fmla="*/ 0 w 68198"/>
                <a:gd name="connsiteY2" fmla="*/ 0 h 270086"/>
                <a:gd name="connsiteX3" fmla="*/ 68199 w 68198"/>
                <a:gd name="connsiteY3" fmla="*/ 0 h 270086"/>
                <a:gd name="connsiteX4" fmla="*/ 68199 w 68198"/>
                <a:gd name="connsiteY4" fmla="*/ 270087 h 270086"/>
                <a:gd name="connsiteX5" fmla="*/ 9525 w 68198"/>
                <a:gd name="connsiteY5" fmla="*/ 260773 h 270086"/>
                <a:gd name="connsiteX6" fmla="*/ 58674 w 68198"/>
                <a:gd name="connsiteY6" fmla="*/ 260773 h 270086"/>
                <a:gd name="connsiteX7" fmla="*/ 58674 w 68198"/>
                <a:gd name="connsiteY7" fmla="*/ 9313 h 270086"/>
                <a:gd name="connsiteX8" fmla="*/ 9525 w 68198"/>
                <a:gd name="connsiteY8" fmla="*/ 9313 h 270086"/>
                <a:gd name="connsiteX9" fmla="*/ 9525 w 68198"/>
                <a:gd name="connsiteY9" fmla="*/ 260773 h 2700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68198" h="270086">
                  <a:moveTo>
                    <a:pt x="68199" y="270087"/>
                  </a:moveTo>
                  <a:lnTo>
                    <a:pt x="0" y="270087"/>
                  </a:lnTo>
                  <a:lnTo>
                    <a:pt x="0" y="0"/>
                  </a:lnTo>
                  <a:lnTo>
                    <a:pt x="68199" y="0"/>
                  </a:lnTo>
                  <a:lnTo>
                    <a:pt x="68199" y="270087"/>
                  </a:lnTo>
                  <a:close/>
                  <a:moveTo>
                    <a:pt x="9525" y="260773"/>
                  </a:moveTo>
                  <a:lnTo>
                    <a:pt x="58674" y="260773"/>
                  </a:lnTo>
                  <a:lnTo>
                    <a:pt x="58674" y="9313"/>
                  </a:lnTo>
                  <a:lnTo>
                    <a:pt x="9525" y="9313"/>
                  </a:lnTo>
                  <a:lnTo>
                    <a:pt x="9525" y="260773"/>
                  </a:lnTo>
                  <a:close/>
                </a:path>
              </a:pathLst>
            </a:cu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2400"/>
            </a:p>
          </p:txBody>
        </p:sp>
        <p:sp>
          <p:nvSpPr>
            <p:cNvPr id="28" name="Forme libre 27">
              <a:extLst>
                <a:ext uri="{FF2B5EF4-FFF2-40B4-BE49-F238E27FC236}">
                  <a16:creationId xmlns:a16="http://schemas.microsoft.com/office/drawing/2014/main" id="{109E3075-F3A1-4787-F5B5-992D5583534A}"/>
                </a:ext>
              </a:extLst>
            </p:cNvPr>
            <p:cNvSpPr/>
            <p:nvPr/>
          </p:nvSpPr>
          <p:spPr>
            <a:xfrm>
              <a:off x="4756404" y="2432050"/>
              <a:ext cx="292988" cy="279027"/>
            </a:xfrm>
            <a:custGeom>
              <a:avLst/>
              <a:gdLst>
                <a:gd name="connsiteX0" fmla="*/ 146113 w 292988"/>
                <a:gd name="connsiteY0" fmla="*/ 279027 h 279027"/>
                <a:gd name="connsiteX1" fmla="*/ 0 w 292988"/>
                <a:gd name="connsiteY1" fmla="*/ 140259 h 279027"/>
                <a:gd name="connsiteX2" fmla="*/ 0 w 292988"/>
                <a:gd name="connsiteY2" fmla="*/ 139514 h 279027"/>
                <a:gd name="connsiteX3" fmla="*/ 146875 w 292988"/>
                <a:gd name="connsiteY3" fmla="*/ 0 h 279027"/>
                <a:gd name="connsiteX4" fmla="*/ 292989 w 292988"/>
                <a:gd name="connsiteY4" fmla="*/ 138769 h 279027"/>
                <a:gd name="connsiteX5" fmla="*/ 146113 w 292988"/>
                <a:gd name="connsiteY5" fmla="*/ 279027 h 279027"/>
                <a:gd name="connsiteX6" fmla="*/ 146875 w 292988"/>
                <a:gd name="connsiteY6" fmla="*/ 9313 h 279027"/>
                <a:gd name="connsiteX7" fmla="*/ 9525 w 292988"/>
                <a:gd name="connsiteY7" fmla="*/ 139514 h 279027"/>
                <a:gd name="connsiteX8" fmla="*/ 9525 w 292988"/>
                <a:gd name="connsiteY8" fmla="*/ 140259 h 279027"/>
                <a:gd name="connsiteX9" fmla="*/ 146113 w 292988"/>
                <a:gd name="connsiteY9" fmla="*/ 269714 h 279027"/>
                <a:gd name="connsiteX10" fmla="*/ 283464 w 292988"/>
                <a:gd name="connsiteY10" fmla="*/ 139514 h 279027"/>
                <a:gd name="connsiteX11" fmla="*/ 146875 w 292988"/>
                <a:gd name="connsiteY11" fmla="*/ 9313 h 279027"/>
                <a:gd name="connsiteX12" fmla="*/ 146875 w 292988"/>
                <a:gd name="connsiteY12" fmla="*/ 226128 h 279027"/>
                <a:gd name="connsiteX13" fmla="*/ 61341 w 292988"/>
                <a:gd name="connsiteY13" fmla="*/ 139514 h 279027"/>
                <a:gd name="connsiteX14" fmla="*/ 146113 w 292988"/>
                <a:gd name="connsiteY14" fmla="*/ 52900 h 279027"/>
                <a:gd name="connsiteX15" fmla="*/ 231648 w 292988"/>
                <a:gd name="connsiteY15" fmla="*/ 139514 h 279027"/>
                <a:gd name="connsiteX16" fmla="*/ 231648 w 292988"/>
                <a:gd name="connsiteY16" fmla="*/ 140259 h 279027"/>
                <a:gd name="connsiteX17" fmla="*/ 146875 w 292988"/>
                <a:gd name="connsiteY17" fmla="*/ 226128 h 279027"/>
                <a:gd name="connsiteX18" fmla="*/ 146113 w 292988"/>
                <a:gd name="connsiteY18" fmla="*/ 62213 h 279027"/>
                <a:gd name="connsiteX19" fmla="*/ 70866 w 292988"/>
                <a:gd name="connsiteY19" fmla="*/ 138769 h 279027"/>
                <a:gd name="connsiteX20" fmla="*/ 146875 w 292988"/>
                <a:gd name="connsiteY20" fmla="*/ 216814 h 279027"/>
                <a:gd name="connsiteX21" fmla="*/ 222123 w 292988"/>
                <a:gd name="connsiteY21" fmla="*/ 140259 h 279027"/>
                <a:gd name="connsiteX22" fmla="*/ 222123 w 292988"/>
                <a:gd name="connsiteY22" fmla="*/ 139514 h 279027"/>
                <a:gd name="connsiteX23" fmla="*/ 146113 w 292988"/>
                <a:gd name="connsiteY23" fmla="*/ 62213 h 2790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292988" h="279027">
                  <a:moveTo>
                    <a:pt x="146113" y="279027"/>
                  </a:moveTo>
                  <a:cubicBezTo>
                    <a:pt x="62865" y="279027"/>
                    <a:pt x="0" y="219422"/>
                    <a:pt x="0" y="140259"/>
                  </a:cubicBezTo>
                  <a:lnTo>
                    <a:pt x="0" y="139514"/>
                  </a:lnTo>
                  <a:cubicBezTo>
                    <a:pt x="0" y="61282"/>
                    <a:pt x="64484" y="0"/>
                    <a:pt x="146875" y="0"/>
                  </a:cubicBezTo>
                  <a:cubicBezTo>
                    <a:pt x="229267" y="0"/>
                    <a:pt x="292989" y="59605"/>
                    <a:pt x="292989" y="138769"/>
                  </a:cubicBezTo>
                  <a:cubicBezTo>
                    <a:pt x="292989" y="217932"/>
                    <a:pt x="228505" y="279027"/>
                    <a:pt x="146113" y="279027"/>
                  </a:cubicBezTo>
                  <a:close/>
                  <a:moveTo>
                    <a:pt x="146875" y="9313"/>
                  </a:moveTo>
                  <a:cubicBezTo>
                    <a:pt x="69913" y="9313"/>
                    <a:pt x="9525" y="66497"/>
                    <a:pt x="9525" y="139514"/>
                  </a:cubicBezTo>
                  <a:lnTo>
                    <a:pt x="9525" y="140259"/>
                  </a:lnTo>
                  <a:cubicBezTo>
                    <a:pt x="9525" y="214020"/>
                    <a:pt x="68199" y="269714"/>
                    <a:pt x="146113" y="269714"/>
                  </a:cubicBezTo>
                  <a:cubicBezTo>
                    <a:pt x="224028" y="269714"/>
                    <a:pt x="283464" y="212530"/>
                    <a:pt x="283464" y="139514"/>
                  </a:cubicBezTo>
                  <a:cubicBezTo>
                    <a:pt x="283464" y="66497"/>
                    <a:pt x="224790" y="9313"/>
                    <a:pt x="146875" y="9313"/>
                  </a:cubicBezTo>
                  <a:close/>
                  <a:moveTo>
                    <a:pt x="146875" y="226128"/>
                  </a:moveTo>
                  <a:cubicBezTo>
                    <a:pt x="98869" y="226128"/>
                    <a:pt x="61341" y="188129"/>
                    <a:pt x="61341" y="139514"/>
                  </a:cubicBezTo>
                  <a:cubicBezTo>
                    <a:pt x="61341" y="90898"/>
                    <a:pt x="97822" y="52900"/>
                    <a:pt x="146113" y="52900"/>
                  </a:cubicBezTo>
                  <a:cubicBezTo>
                    <a:pt x="194405" y="52900"/>
                    <a:pt x="231648" y="90898"/>
                    <a:pt x="231648" y="139514"/>
                  </a:cubicBezTo>
                  <a:lnTo>
                    <a:pt x="231648" y="140259"/>
                  </a:lnTo>
                  <a:cubicBezTo>
                    <a:pt x="231648" y="189247"/>
                    <a:pt x="195167" y="226128"/>
                    <a:pt x="146875" y="226128"/>
                  </a:cubicBezTo>
                  <a:close/>
                  <a:moveTo>
                    <a:pt x="146113" y="62213"/>
                  </a:moveTo>
                  <a:cubicBezTo>
                    <a:pt x="103251" y="62213"/>
                    <a:pt x="70866" y="95089"/>
                    <a:pt x="70866" y="138769"/>
                  </a:cubicBezTo>
                  <a:cubicBezTo>
                    <a:pt x="70866" y="182448"/>
                    <a:pt x="103537" y="216814"/>
                    <a:pt x="146875" y="216814"/>
                  </a:cubicBezTo>
                  <a:cubicBezTo>
                    <a:pt x="190214" y="216814"/>
                    <a:pt x="222123" y="183938"/>
                    <a:pt x="222123" y="140259"/>
                  </a:cubicBezTo>
                  <a:lnTo>
                    <a:pt x="222123" y="139514"/>
                  </a:lnTo>
                  <a:cubicBezTo>
                    <a:pt x="222123" y="95462"/>
                    <a:pt x="189452" y="62213"/>
                    <a:pt x="146113" y="62213"/>
                  </a:cubicBezTo>
                  <a:close/>
                </a:path>
              </a:pathLst>
            </a:cu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2400"/>
            </a:p>
          </p:txBody>
        </p:sp>
        <p:sp>
          <p:nvSpPr>
            <p:cNvPr id="29" name="Forme libre 28">
              <a:extLst>
                <a:ext uri="{FF2B5EF4-FFF2-40B4-BE49-F238E27FC236}">
                  <a16:creationId xmlns:a16="http://schemas.microsoft.com/office/drawing/2014/main" id="{4ECD66FD-E7F0-CD87-8336-E1152F3F4C0E}"/>
                </a:ext>
              </a:extLst>
            </p:cNvPr>
            <p:cNvSpPr/>
            <p:nvPr/>
          </p:nvSpPr>
          <p:spPr>
            <a:xfrm>
              <a:off x="5094732" y="2436520"/>
              <a:ext cx="68198" cy="270086"/>
            </a:xfrm>
            <a:custGeom>
              <a:avLst/>
              <a:gdLst>
                <a:gd name="connsiteX0" fmla="*/ 68199 w 68198"/>
                <a:gd name="connsiteY0" fmla="*/ 270087 h 270086"/>
                <a:gd name="connsiteX1" fmla="*/ 0 w 68198"/>
                <a:gd name="connsiteY1" fmla="*/ 270087 h 270086"/>
                <a:gd name="connsiteX2" fmla="*/ 0 w 68198"/>
                <a:gd name="connsiteY2" fmla="*/ 0 h 270086"/>
                <a:gd name="connsiteX3" fmla="*/ 68199 w 68198"/>
                <a:gd name="connsiteY3" fmla="*/ 0 h 270086"/>
                <a:gd name="connsiteX4" fmla="*/ 68199 w 68198"/>
                <a:gd name="connsiteY4" fmla="*/ 270087 h 270086"/>
                <a:gd name="connsiteX5" fmla="*/ 9525 w 68198"/>
                <a:gd name="connsiteY5" fmla="*/ 260773 h 270086"/>
                <a:gd name="connsiteX6" fmla="*/ 58674 w 68198"/>
                <a:gd name="connsiteY6" fmla="*/ 260773 h 270086"/>
                <a:gd name="connsiteX7" fmla="*/ 58674 w 68198"/>
                <a:gd name="connsiteY7" fmla="*/ 9313 h 270086"/>
                <a:gd name="connsiteX8" fmla="*/ 9525 w 68198"/>
                <a:gd name="connsiteY8" fmla="*/ 9313 h 270086"/>
                <a:gd name="connsiteX9" fmla="*/ 9525 w 68198"/>
                <a:gd name="connsiteY9" fmla="*/ 260773 h 2700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68198" h="270086">
                  <a:moveTo>
                    <a:pt x="68199" y="270087"/>
                  </a:moveTo>
                  <a:lnTo>
                    <a:pt x="0" y="270087"/>
                  </a:lnTo>
                  <a:lnTo>
                    <a:pt x="0" y="0"/>
                  </a:lnTo>
                  <a:lnTo>
                    <a:pt x="68199" y="0"/>
                  </a:lnTo>
                  <a:lnTo>
                    <a:pt x="68199" y="270087"/>
                  </a:lnTo>
                  <a:close/>
                  <a:moveTo>
                    <a:pt x="9525" y="260773"/>
                  </a:moveTo>
                  <a:lnTo>
                    <a:pt x="58674" y="260773"/>
                  </a:lnTo>
                  <a:lnTo>
                    <a:pt x="58674" y="9313"/>
                  </a:lnTo>
                  <a:lnTo>
                    <a:pt x="9525" y="9313"/>
                  </a:lnTo>
                  <a:lnTo>
                    <a:pt x="9525" y="260773"/>
                  </a:lnTo>
                  <a:close/>
                </a:path>
              </a:pathLst>
            </a:cu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2400"/>
            </a:p>
          </p:txBody>
        </p:sp>
        <p:sp>
          <p:nvSpPr>
            <p:cNvPr id="30" name="Forme libre 29">
              <a:extLst>
                <a:ext uri="{FF2B5EF4-FFF2-40B4-BE49-F238E27FC236}">
                  <a16:creationId xmlns:a16="http://schemas.microsoft.com/office/drawing/2014/main" id="{82C432C1-E029-AA5A-2807-FFF34D9D863F}"/>
                </a:ext>
              </a:extLst>
            </p:cNvPr>
            <p:cNvSpPr/>
            <p:nvPr/>
          </p:nvSpPr>
          <p:spPr>
            <a:xfrm>
              <a:off x="5208174" y="2432050"/>
              <a:ext cx="292989" cy="279027"/>
            </a:xfrm>
            <a:custGeom>
              <a:avLst/>
              <a:gdLst>
                <a:gd name="connsiteX0" fmla="*/ 146114 w 292989"/>
                <a:gd name="connsiteY0" fmla="*/ 279027 h 279027"/>
                <a:gd name="connsiteX1" fmla="*/ 0 w 292989"/>
                <a:gd name="connsiteY1" fmla="*/ 140259 h 279027"/>
                <a:gd name="connsiteX2" fmla="*/ 0 w 292989"/>
                <a:gd name="connsiteY2" fmla="*/ 139514 h 279027"/>
                <a:gd name="connsiteX3" fmla="*/ 146876 w 292989"/>
                <a:gd name="connsiteY3" fmla="*/ 0 h 279027"/>
                <a:gd name="connsiteX4" fmla="*/ 292989 w 292989"/>
                <a:gd name="connsiteY4" fmla="*/ 138769 h 279027"/>
                <a:gd name="connsiteX5" fmla="*/ 146114 w 292989"/>
                <a:gd name="connsiteY5" fmla="*/ 279027 h 279027"/>
                <a:gd name="connsiteX6" fmla="*/ 146876 w 292989"/>
                <a:gd name="connsiteY6" fmla="*/ 9313 h 279027"/>
                <a:gd name="connsiteX7" fmla="*/ 9525 w 292989"/>
                <a:gd name="connsiteY7" fmla="*/ 139514 h 279027"/>
                <a:gd name="connsiteX8" fmla="*/ 9525 w 292989"/>
                <a:gd name="connsiteY8" fmla="*/ 140259 h 279027"/>
                <a:gd name="connsiteX9" fmla="*/ 146114 w 292989"/>
                <a:gd name="connsiteY9" fmla="*/ 269714 h 279027"/>
                <a:gd name="connsiteX10" fmla="*/ 283464 w 292989"/>
                <a:gd name="connsiteY10" fmla="*/ 139514 h 279027"/>
                <a:gd name="connsiteX11" fmla="*/ 146876 w 292989"/>
                <a:gd name="connsiteY11" fmla="*/ 9313 h 279027"/>
                <a:gd name="connsiteX12" fmla="*/ 146876 w 292989"/>
                <a:gd name="connsiteY12" fmla="*/ 226128 h 279027"/>
                <a:gd name="connsiteX13" fmla="*/ 61341 w 292989"/>
                <a:gd name="connsiteY13" fmla="*/ 139514 h 279027"/>
                <a:gd name="connsiteX14" fmla="*/ 146114 w 292989"/>
                <a:gd name="connsiteY14" fmla="*/ 52900 h 279027"/>
                <a:gd name="connsiteX15" fmla="*/ 231648 w 292989"/>
                <a:gd name="connsiteY15" fmla="*/ 139514 h 279027"/>
                <a:gd name="connsiteX16" fmla="*/ 231648 w 292989"/>
                <a:gd name="connsiteY16" fmla="*/ 140259 h 279027"/>
                <a:gd name="connsiteX17" fmla="*/ 146876 w 292989"/>
                <a:gd name="connsiteY17" fmla="*/ 226128 h 279027"/>
                <a:gd name="connsiteX18" fmla="*/ 146114 w 292989"/>
                <a:gd name="connsiteY18" fmla="*/ 62213 h 279027"/>
                <a:gd name="connsiteX19" fmla="*/ 70866 w 292989"/>
                <a:gd name="connsiteY19" fmla="*/ 138769 h 279027"/>
                <a:gd name="connsiteX20" fmla="*/ 146876 w 292989"/>
                <a:gd name="connsiteY20" fmla="*/ 216814 h 279027"/>
                <a:gd name="connsiteX21" fmla="*/ 222123 w 292989"/>
                <a:gd name="connsiteY21" fmla="*/ 140259 h 279027"/>
                <a:gd name="connsiteX22" fmla="*/ 222123 w 292989"/>
                <a:gd name="connsiteY22" fmla="*/ 139514 h 279027"/>
                <a:gd name="connsiteX23" fmla="*/ 146114 w 292989"/>
                <a:gd name="connsiteY23" fmla="*/ 62213 h 2790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292989" h="279027">
                  <a:moveTo>
                    <a:pt x="146114" y="279027"/>
                  </a:moveTo>
                  <a:cubicBezTo>
                    <a:pt x="62865" y="279027"/>
                    <a:pt x="0" y="219422"/>
                    <a:pt x="0" y="140259"/>
                  </a:cubicBezTo>
                  <a:lnTo>
                    <a:pt x="0" y="139514"/>
                  </a:lnTo>
                  <a:cubicBezTo>
                    <a:pt x="0" y="61282"/>
                    <a:pt x="64484" y="0"/>
                    <a:pt x="146876" y="0"/>
                  </a:cubicBezTo>
                  <a:cubicBezTo>
                    <a:pt x="229267" y="0"/>
                    <a:pt x="292989" y="59605"/>
                    <a:pt x="292989" y="138769"/>
                  </a:cubicBezTo>
                  <a:cubicBezTo>
                    <a:pt x="292989" y="217932"/>
                    <a:pt x="228505" y="279027"/>
                    <a:pt x="146114" y="279027"/>
                  </a:cubicBezTo>
                  <a:close/>
                  <a:moveTo>
                    <a:pt x="146876" y="9313"/>
                  </a:moveTo>
                  <a:cubicBezTo>
                    <a:pt x="69914" y="9313"/>
                    <a:pt x="9525" y="66497"/>
                    <a:pt x="9525" y="139514"/>
                  </a:cubicBezTo>
                  <a:lnTo>
                    <a:pt x="9525" y="140259"/>
                  </a:lnTo>
                  <a:cubicBezTo>
                    <a:pt x="9525" y="214020"/>
                    <a:pt x="68199" y="269714"/>
                    <a:pt x="146114" y="269714"/>
                  </a:cubicBezTo>
                  <a:cubicBezTo>
                    <a:pt x="224028" y="269714"/>
                    <a:pt x="283464" y="212530"/>
                    <a:pt x="283464" y="139514"/>
                  </a:cubicBezTo>
                  <a:cubicBezTo>
                    <a:pt x="283464" y="66497"/>
                    <a:pt x="224790" y="9313"/>
                    <a:pt x="146876" y="9313"/>
                  </a:cubicBezTo>
                  <a:close/>
                  <a:moveTo>
                    <a:pt x="146876" y="226128"/>
                  </a:moveTo>
                  <a:cubicBezTo>
                    <a:pt x="98870" y="226128"/>
                    <a:pt x="61341" y="188129"/>
                    <a:pt x="61341" y="139514"/>
                  </a:cubicBezTo>
                  <a:cubicBezTo>
                    <a:pt x="61341" y="90898"/>
                    <a:pt x="97822" y="52900"/>
                    <a:pt x="146114" y="52900"/>
                  </a:cubicBezTo>
                  <a:cubicBezTo>
                    <a:pt x="194405" y="52900"/>
                    <a:pt x="231648" y="90898"/>
                    <a:pt x="231648" y="139514"/>
                  </a:cubicBezTo>
                  <a:lnTo>
                    <a:pt x="231648" y="140259"/>
                  </a:lnTo>
                  <a:cubicBezTo>
                    <a:pt x="231648" y="189247"/>
                    <a:pt x="195167" y="226128"/>
                    <a:pt x="146876" y="226128"/>
                  </a:cubicBezTo>
                  <a:close/>
                  <a:moveTo>
                    <a:pt x="146114" y="62213"/>
                  </a:moveTo>
                  <a:cubicBezTo>
                    <a:pt x="103251" y="62213"/>
                    <a:pt x="70866" y="95089"/>
                    <a:pt x="70866" y="138769"/>
                  </a:cubicBezTo>
                  <a:cubicBezTo>
                    <a:pt x="70866" y="182448"/>
                    <a:pt x="103537" y="216814"/>
                    <a:pt x="146876" y="216814"/>
                  </a:cubicBezTo>
                  <a:cubicBezTo>
                    <a:pt x="190214" y="216814"/>
                    <a:pt x="222123" y="183938"/>
                    <a:pt x="222123" y="140259"/>
                  </a:cubicBezTo>
                  <a:lnTo>
                    <a:pt x="222123" y="139514"/>
                  </a:lnTo>
                  <a:cubicBezTo>
                    <a:pt x="222123" y="95462"/>
                    <a:pt x="189452" y="62213"/>
                    <a:pt x="146114" y="62213"/>
                  </a:cubicBezTo>
                  <a:close/>
                </a:path>
              </a:pathLst>
            </a:cu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2400"/>
            </a:p>
          </p:txBody>
        </p:sp>
      </p:grpSp>
    </p:spTree>
    <p:extLst>
      <p:ext uri="{BB962C8B-B14F-4D97-AF65-F5344CB8AC3E}">
        <p14:creationId xmlns:p14="http://schemas.microsoft.com/office/powerpoint/2010/main" val="120133905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V4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reeform: Shape 4">
            <a:extLst>
              <a:ext uri="{FF2B5EF4-FFF2-40B4-BE49-F238E27FC236}">
                <a16:creationId xmlns:a16="http://schemas.microsoft.com/office/drawing/2014/main" id="{D70359EE-7C47-C01C-F7A5-6C744493B428}"/>
              </a:ext>
            </a:extLst>
          </p:cNvPr>
          <p:cNvSpPr/>
          <p:nvPr userDrawn="1"/>
        </p:nvSpPr>
        <p:spPr>
          <a:xfrm flipH="1" flipV="1">
            <a:off x="2" y="1964273"/>
            <a:ext cx="12191999" cy="4892017"/>
          </a:xfrm>
          <a:custGeom>
            <a:avLst/>
            <a:gdLst>
              <a:gd name="connsiteX0" fmla="*/ 0 w 9143999"/>
              <a:gd name="connsiteY0" fmla="*/ 0 h 3669013"/>
              <a:gd name="connsiteX1" fmla="*/ 9143999 w 9143999"/>
              <a:gd name="connsiteY1" fmla="*/ 0 h 3669013"/>
              <a:gd name="connsiteX2" fmla="*/ 9143999 w 9143999"/>
              <a:gd name="connsiteY2" fmla="*/ 1885180 h 3669013"/>
              <a:gd name="connsiteX3" fmla="*/ 0 w 9143999"/>
              <a:gd name="connsiteY3" fmla="*/ 3669013 h 36690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143999" h="3669013">
                <a:moveTo>
                  <a:pt x="0" y="0"/>
                </a:moveTo>
                <a:lnTo>
                  <a:pt x="9143999" y="0"/>
                </a:lnTo>
                <a:lnTo>
                  <a:pt x="9143999" y="1885180"/>
                </a:lnTo>
                <a:lnTo>
                  <a:pt x="0" y="3669013"/>
                </a:lnTo>
                <a:close/>
              </a:path>
            </a:pathLst>
          </a:custGeom>
          <a:solidFill>
            <a:schemeClr val="accent5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rtl="0"/>
            <a:endParaRPr lang="en-GB" sz="2400" dirty="0"/>
          </a:p>
        </p:txBody>
      </p:sp>
      <p:pic>
        <p:nvPicPr>
          <p:cNvPr id="24" name="Graphique 23">
            <a:extLst>
              <a:ext uri="{FF2B5EF4-FFF2-40B4-BE49-F238E27FC236}">
                <a16:creationId xmlns:a16="http://schemas.microsoft.com/office/drawing/2014/main" id="{52418BF8-7EF5-5A4C-FC93-67E994D86A8D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-118667" y="86355"/>
            <a:ext cx="12236556" cy="6664400"/>
          </a:xfrm>
          <a:prstGeom prst="rect">
            <a:avLst/>
          </a:prstGeom>
        </p:spPr>
      </p:pic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5EBE6D1E-4014-961F-B11C-D24BF03984F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35773737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1" imgH="351" progId="TCLayout.ActiveDocument.1">
                  <p:embed/>
                </p:oleObj>
              </mc:Choice>
              <mc:Fallback>
                <p:oleObj name="think-cell Slide" r:id="rId4" imgW="351" imgH="351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EBE6D1E-4014-961F-B11C-D24BF03984F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think-cell data - do not delete" hidden="1">
            <a:extLst>
              <a:ext uri="{FF2B5EF4-FFF2-40B4-BE49-F238E27FC236}">
                <a16:creationId xmlns:a16="http://schemas.microsoft.com/office/drawing/2014/main" id="{ED0B341A-24B1-3C14-A5A1-FCD8B15F696D}"/>
              </a:ext>
            </a:extLst>
          </p:cNvPr>
          <p:cNvPicPr/>
          <p:nvPr/>
        </p:nvPicPr>
        <p:blipFill>
          <a:blip r:embed="rId5"/>
          <a:stretch>
            <a:fillRect/>
          </a:stretch>
        </p:blipFill>
        <p:spPr>
          <a:xfrm>
            <a:off x="2118" y="2118"/>
            <a:ext cx="2117" cy="2117"/>
          </a:xfrm>
          <a:prstGeom prst="rect">
            <a:avLst/>
          </a:prstGeom>
        </p:spPr>
      </p:pic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8CCB976D-ED68-2AA1-9163-CB31BE1F6C0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56656" y="1801958"/>
            <a:ext cx="5689437" cy="246221"/>
          </a:xfrm>
          <a:prstGeom prst="rect">
            <a:avLst/>
          </a:prstGeom>
        </p:spPr>
        <p:txBody>
          <a:bodyPr wrap="square" lIns="0" tIns="0" rIns="0" bIns="0" anchor="b"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buNone/>
              <a:defRPr sz="1600" b="1" cap="all" baseline="0">
                <a:gradFill>
                  <a:gsLst>
                    <a:gs pos="0">
                      <a:schemeClr val="accent5"/>
                    </a:gs>
                    <a:gs pos="100000">
                      <a:schemeClr val="accent6"/>
                    </a:gs>
                  </a:gsLst>
                  <a:lin ang="0" scaled="1"/>
                </a:gradFill>
              </a:defRPr>
            </a:lvl1pPr>
          </a:lstStyle>
          <a:p>
            <a:pPr lvl="0"/>
            <a:r>
              <a:rPr lang="en-GB" noProof="0" dirty="0"/>
              <a:t>THIS IS THE TITLE OF A PARAGRAPH</a:t>
            </a: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3657D49D-8B01-400F-A020-7C71D037F72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56656" y="2132158"/>
            <a:ext cx="5689437" cy="1210588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933"/>
              </a:spcAft>
              <a:buNone/>
              <a:defRPr sz="1333" b="0" spc="-27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noProof="0" dirty="0"/>
              <a:t>Insert text</a:t>
            </a:r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71BC568D-FB84-6BB5-34CA-A2896FEDCD8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56656" y="3750138"/>
            <a:ext cx="5689437" cy="246221"/>
          </a:xfrm>
          <a:prstGeom prst="rect">
            <a:avLst/>
          </a:prstGeom>
        </p:spPr>
        <p:txBody>
          <a:bodyPr wrap="square" lIns="0" tIns="0" rIns="0" bIns="0" anchor="b"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buNone/>
              <a:defRPr sz="1600" b="1" cap="all" baseline="0">
                <a:gradFill>
                  <a:gsLst>
                    <a:gs pos="0">
                      <a:schemeClr val="accent5"/>
                    </a:gs>
                    <a:gs pos="100000">
                      <a:schemeClr val="accent6"/>
                    </a:gs>
                  </a:gsLst>
                  <a:lin ang="0" scaled="1"/>
                </a:gradFill>
              </a:defRPr>
            </a:lvl1pPr>
          </a:lstStyle>
          <a:p>
            <a:pPr lvl="0"/>
            <a:r>
              <a:rPr lang="en-GB" noProof="0" dirty="0"/>
              <a:t>THIS IS THE TITLE OF A PARAGRAPH</a:t>
            </a:r>
          </a:p>
        </p:txBody>
      </p: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E03A3347-C6CC-7C5D-64FB-D30D9B9C4CC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56656" y="4080337"/>
            <a:ext cx="5689437" cy="1412352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933"/>
              </a:spcAft>
              <a:buNone/>
              <a:defRPr sz="1333" b="0" spc="-27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noProof="0" dirty="0"/>
              <a:t>Insert text</a:t>
            </a:r>
          </a:p>
        </p:txBody>
      </p:sp>
      <p:sp>
        <p:nvSpPr>
          <p:cNvPr id="19" name="Picture Placeholder 10">
            <a:extLst>
              <a:ext uri="{FF2B5EF4-FFF2-40B4-BE49-F238E27FC236}">
                <a16:creationId xmlns:a16="http://schemas.microsoft.com/office/drawing/2014/main" id="{CF8F9384-1CDC-AC72-986A-914E31364D62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9689092" y="3010329"/>
            <a:ext cx="1612800" cy="1612800"/>
          </a:xfrm>
          <a:prstGeom prst="rect">
            <a:avLst/>
          </a:prstGeom>
          <a:noFill/>
        </p:spPr>
        <p:txBody>
          <a:bodyPr wrap="square" anchor="ctr">
            <a:noAutofit/>
          </a:bodyPr>
          <a:lstStyle>
            <a:lvl1pPr marL="0" indent="0" algn="ctr" rtl="0">
              <a:buNone/>
              <a:defRPr sz="1467">
                <a:solidFill>
                  <a:schemeClr val="accent1"/>
                </a:solidFill>
              </a:defRPr>
            </a:lvl1pPr>
          </a:lstStyle>
          <a:p>
            <a:r>
              <a:rPr lang="en-GB" noProof="0" dirty="0"/>
              <a:t>Insert icon</a:t>
            </a:r>
          </a:p>
        </p:txBody>
      </p:sp>
      <p:sp>
        <p:nvSpPr>
          <p:cNvPr id="16" name="Text Placeholder 6">
            <a:extLst>
              <a:ext uri="{FF2B5EF4-FFF2-40B4-BE49-F238E27FC236}">
                <a16:creationId xmlns:a16="http://schemas.microsoft.com/office/drawing/2014/main" id="{8CDA6906-2E54-4186-A20E-352C4CB1CCE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631939" y="1645206"/>
            <a:ext cx="3464560" cy="2051844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>
            <a:lvl1pPr marL="0" indent="0" rtl="0">
              <a:lnSpc>
                <a:spcPts val="4000"/>
              </a:lnSpc>
              <a:spcBef>
                <a:spcPts val="0"/>
              </a:spcBef>
              <a:buNone/>
              <a:defRPr sz="3333" b="1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noProof="0" dirty="0"/>
              <a:t>Insert text</a:t>
            </a:r>
          </a:p>
        </p:txBody>
      </p:sp>
      <p:pic>
        <p:nvPicPr>
          <p:cNvPr id="7" name="Graphic 2">
            <a:extLst>
              <a:ext uri="{FF2B5EF4-FFF2-40B4-BE49-F238E27FC236}">
                <a16:creationId xmlns:a16="http://schemas.microsoft.com/office/drawing/2014/main" id="{7926ED80-F85E-5E17-569E-6E7142856991}"/>
              </a:ext>
            </a:extLst>
          </p:cNvPr>
          <p:cNvPicPr>
            <a:picLocks noChangeAspect="1"/>
          </p:cNvPicPr>
          <p:nvPr userDrawn="1"/>
        </p:nvPicPr>
        <p:blipFill>
          <a:blip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66423" y="6258027"/>
            <a:ext cx="779032" cy="325227"/>
          </a:xfrm>
          <a:prstGeom prst="rect">
            <a:avLst/>
          </a:prstGeom>
        </p:spPr>
      </p:pic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5862E2C7-4A69-F252-4C39-F12B2748CF9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41629" y="6439624"/>
            <a:ext cx="4114800" cy="143629"/>
          </a:xfrm>
          <a:prstGeom prst="rect">
            <a:avLst/>
          </a:prstGeom>
        </p:spPr>
        <p:txBody>
          <a:bodyPr vert="horz" lIns="0" tIns="0" rIns="0" bIns="0" rtlCol="0" anchor="b">
            <a:spAutoFit/>
          </a:bodyPr>
          <a:lstStyle>
            <a:lvl1pPr algn="ctr" rtl="0">
              <a:defRPr sz="933">
                <a:solidFill>
                  <a:schemeClr val="accent1"/>
                </a:solidFill>
              </a:defRPr>
            </a:lvl1pPr>
          </a:lstStyle>
          <a:p>
            <a:r>
              <a:rPr lang="en-GB"/>
              <a:t>THIS IS THE NAME OF THE PRESENTATION</a:t>
            </a:r>
            <a:endParaRPr lang="en-GB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38278730-2D8B-DDB4-966E-285AF94A7E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6656" y="578625"/>
            <a:ext cx="10876800" cy="410369"/>
          </a:xfrm>
          <a:prstGeom prst="rect">
            <a:avLst/>
          </a:prstGeom>
        </p:spPr>
        <p:txBody>
          <a:bodyPr vert="horz" lIns="0" tIns="0" rIns="0" bIns="0" anchor="t">
            <a:spAutoFit/>
          </a:bodyPr>
          <a:lstStyle>
            <a:lvl1pPr rtl="0">
              <a:lnSpc>
                <a:spcPct val="100000"/>
              </a:lnSpc>
              <a:defRPr sz="2667" b="1" cap="all" spc="53" baseline="0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GB" noProof="0" dirty="0"/>
              <a:t>THIS IS THE SLIDE TITLE</a:t>
            </a: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A3A61D15-94F1-977F-110E-C86167704BB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58084" y="6434426"/>
            <a:ext cx="315017" cy="143629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 rtl="0">
              <a:defRPr sz="933">
                <a:solidFill>
                  <a:schemeClr val="accent1"/>
                </a:solidFill>
              </a:defRPr>
            </a:lvl1pPr>
          </a:lstStyle>
          <a:p>
            <a:fld id="{809B0AF7-3924-4693-AD32-8215A0397987}" type="slidenum">
              <a:rPr lang="en-GB" smtClean="0"/>
              <a:pPr/>
              <a:t>‹#›</a:t>
            </a:fld>
            <a:endParaRPr lang="en-GB" dirty="0"/>
          </a:p>
        </p:txBody>
      </p:sp>
      <p:grpSp>
        <p:nvGrpSpPr>
          <p:cNvPr id="17" name="Graphique 10">
            <a:extLst>
              <a:ext uri="{FF2B5EF4-FFF2-40B4-BE49-F238E27FC236}">
                <a16:creationId xmlns:a16="http://schemas.microsoft.com/office/drawing/2014/main" id="{3AFADD70-7E94-E511-CE2F-1468FFE36E89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669355" y="1020625"/>
            <a:ext cx="801047" cy="120000"/>
            <a:chOff x="3638550" y="2432050"/>
            <a:chExt cx="1862613" cy="279027"/>
          </a:xfrm>
          <a:gradFill flip="none" rotWithShape="1">
            <a:gsLst>
              <a:gs pos="0">
                <a:schemeClr val="accent5"/>
              </a:gs>
              <a:gs pos="100000">
                <a:schemeClr val="accent6"/>
              </a:gs>
            </a:gsLst>
            <a:lin ang="0" scaled="1"/>
            <a:tileRect/>
          </a:gradFill>
        </p:grpSpPr>
        <p:sp>
          <p:nvSpPr>
            <p:cNvPr id="25" name="Forme libre 24">
              <a:extLst>
                <a:ext uri="{FF2B5EF4-FFF2-40B4-BE49-F238E27FC236}">
                  <a16:creationId xmlns:a16="http://schemas.microsoft.com/office/drawing/2014/main" id="{B6F0AA33-BB75-E4B7-D5A9-224743BDC3E1}"/>
                </a:ext>
              </a:extLst>
            </p:cNvPr>
            <p:cNvSpPr/>
            <p:nvPr/>
          </p:nvSpPr>
          <p:spPr>
            <a:xfrm>
              <a:off x="3638550" y="2436520"/>
              <a:ext cx="68198" cy="270086"/>
            </a:xfrm>
            <a:custGeom>
              <a:avLst/>
              <a:gdLst>
                <a:gd name="connsiteX0" fmla="*/ 68199 w 68198"/>
                <a:gd name="connsiteY0" fmla="*/ 270087 h 270086"/>
                <a:gd name="connsiteX1" fmla="*/ 0 w 68198"/>
                <a:gd name="connsiteY1" fmla="*/ 270087 h 270086"/>
                <a:gd name="connsiteX2" fmla="*/ 0 w 68198"/>
                <a:gd name="connsiteY2" fmla="*/ 0 h 270086"/>
                <a:gd name="connsiteX3" fmla="*/ 68199 w 68198"/>
                <a:gd name="connsiteY3" fmla="*/ 0 h 270086"/>
                <a:gd name="connsiteX4" fmla="*/ 68199 w 68198"/>
                <a:gd name="connsiteY4" fmla="*/ 270087 h 270086"/>
                <a:gd name="connsiteX5" fmla="*/ 9525 w 68198"/>
                <a:gd name="connsiteY5" fmla="*/ 260773 h 270086"/>
                <a:gd name="connsiteX6" fmla="*/ 58674 w 68198"/>
                <a:gd name="connsiteY6" fmla="*/ 260773 h 270086"/>
                <a:gd name="connsiteX7" fmla="*/ 58674 w 68198"/>
                <a:gd name="connsiteY7" fmla="*/ 9313 h 270086"/>
                <a:gd name="connsiteX8" fmla="*/ 9525 w 68198"/>
                <a:gd name="connsiteY8" fmla="*/ 9313 h 270086"/>
                <a:gd name="connsiteX9" fmla="*/ 9525 w 68198"/>
                <a:gd name="connsiteY9" fmla="*/ 260773 h 2700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68198" h="270086">
                  <a:moveTo>
                    <a:pt x="68199" y="270087"/>
                  </a:moveTo>
                  <a:lnTo>
                    <a:pt x="0" y="270087"/>
                  </a:lnTo>
                  <a:lnTo>
                    <a:pt x="0" y="0"/>
                  </a:lnTo>
                  <a:lnTo>
                    <a:pt x="68199" y="0"/>
                  </a:lnTo>
                  <a:lnTo>
                    <a:pt x="68199" y="270087"/>
                  </a:lnTo>
                  <a:close/>
                  <a:moveTo>
                    <a:pt x="9525" y="260773"/>
                  </a:moveTo>
                  <a:lnTo>
                    <a:pt x="58674" y="260773"/>
                  </a:lnTo>
                  <a:lnTo>
                    <a:pt x="58674" y="9313"/>
                  </a:lnTo>
                  <a:lnTo>
                    <a:pt x="9525" y="9313"/>
                  </a:lnTo>
                  <a:lnTo>
                    <a:pt x="9525" y="260773"/>
                  </a:lnTo>
                  <a:close/>
                </a:path>
              </a:pathLst>
            </a:cu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2400"/>
            </a:p>
          </p:txBody>
        </p:sp>
        <p:sp>
          <p:nvSpPr>
            <p:cNvPr id="26" name="Forme libre 25">
              <a:extLst>
                <a:ext uri="{FF2B5EF4-FFF2-40B4-BE49-F238E27FC236}">
                  <a16:creationId xmlns:a16="http://schemas.microsoft.com/office/drawing/2014/main" id="{996E9C47-5BA2-DA3C-BC37-A6DD014123F5}"/>
                </a:ext>
              </a:extLst>
            </p:cNvPr>
            <p:cNvSpPr/>
            <p:nvPr/>
          </p:nvSpPr>
          <p:spPr>
            <a:xfrm>
              <a:off x="3752088" y="2432050"/>
              <a:ext cx="292989" cy="279027"/>
            </a:xfrm>
            <a:custGeom>
              <a:avLst/>
              <a:gdLst>
                <a:gd name="connsiteX0" fmla="*/ 146114 w 292989"/>
                <a:gd name="connsiteY0" fmla="*/ 279027 h 279027"/>
                <a:gd name="connsiteX1" fmla="*/ 0 w 292989"/>
                <a:gd name="connsiteY1" fmla="*/ 140259 h 279027"/>
                <a:gd name="connsiteX2" fmla="*/ 0 w 292989"/>
                <a:gd name="connsiteY2" fmla="*/ 139514 h 279027"/>
                <a:gd name="connsiteX3" fmla="*/ 146876 w 292989"/>
                <a:gd name="connsiteY3" fmla="*/ 0 h 279027"/>
                <a:gd name="connsiteX4" fmla="*/ 292989 w 292989"/>
                <a:gd name="connsiteY4" fmla="*/ 138769 h 279027"/>
                <a:gd name="connsiteX5" fmla="*/ 146114 w 292989"/>
                <a:gd name="connsiteY5" fmla="*/ 279027 h 279027"/>
                <a:gd name="connsiteX6" fmla="*/ 146876 w 292989"/>
                <a:gd name="connsiteY6" fmla="*/ 9313 h 279027"/>
                <a:gd name="connsiteX7" fmla="*/ 9525 w 292989"/>
                <a:gd name="connsiteY7" fmla="*/ 139514 h 279027"/>
                <a:gd name="connsiteX8" fmla="*/ 9525 w 292989"/>
                <a:gd name="connsiteY8" fmla="*/ 140259 h 279027"/>
                <a:gd name="connsiteX9" fmla="*/ 146114 w 292989"/>
                <a:gd name="connsiteY9" fmla="*/ 269714 h 279027"/>
                <a:gd name="connsiteX10" fmla="*/ 283464 w 292989"/>
                <a:gd name="connsiteY10" fmla="*/ 139514 h 279027"/>
                <a:gd name="connsiteX11" fmla="*/ 146876 w 292989"/>
                <a:gd name="connsiteY11" fmla="*/ 9313 h 279027"/>
                <a:gd name="connsiteX12" fmla="*/ 146876 w 292989"/>
                <a:gd name="connsiteY12" fmla="*/ 226128 h 279027"/>
                <a:gd name="connsiteX13" fmla="*/ 61341 w 292989"/>
                <a:gd name="connsiteY13" fmla="*/ 139514 h 279027"/>
                <a:gd name="connsiteX14" fmla="*/ 146114 w 292989"/>
                <a:gd name="connsiteY14" fmla="*/ 52900 h 279027"/>
                <a:gd name="connsiteX15" fmla="*/ 231648 w 292989"/>
                <a:gd name="connsiteY15" fmla="*/ 139514 h 279027"/>
                <a:gd name="connsiteX16" fmla="*/ 231648 w 292989"/>
                <a:gd name="connsiteY16" fmla="*/ 140259 h 279027"/>
                <a:gd name="connsiteX17" fmla="*/ 146876 w 292989"/>
                <a:gd name="connsiteY17" fmla="*/ 226128 h 279027"/>
                <a:gd name="connsiteX18" fmla="*/ 146114 w 292989"/>
                <a:gd name="connsiteY18" fmla="*/ 62213 h 279027"/>
                <a:gd name="connsiteX19" fmla="*/ 70866 w 292989"/>
                <a:gd name="connsiteY19" fmla="*/ 138769 h 279027"/>
                <a:gd name="connsiteX20" fmla="*/ 146876 w 292989"/>
                <a:gd name="connsiteY20" fmla="*/ 216814 h 279027"/>
                <a:gd name="connsiteX21" fmla="*/ 222123 w 292989"/>
                <a:gd name="connsiteY21" fmla="*/ 140259 h 279027"/>
                <a:gd name="connsiteX22" fmla="*/ 222123 w 292989"/>
                <a:gd name="connsiteY22" fmla="*/ 139514 h 279027"/>
                <a:gd name="connsiteX23" fmla="*/ 146114 w 292989"/>
                <a:gd name="connsiteY23" fmla="*/ 62213 h 2790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292989" h="279027">
                  <a:moveTo>
                    <a:pt x="146114" y="279027"/>
                  </a:moveTo>
                  <a:cubicBezTo>
                    <a:pt x="62865" y="279027"/>
                    <a:pt x="0" y="219422"/>
                    <a:pt x="0" y="140259"/>
                  </a:cubicBezTo>
                  <a:lnTo>
                    <a:pt x="0" y="139514"/>
                  </a:lnTo>
                  <a:cubicBezTo>
                    <a:pt x="0" y="61282"/>
                    <a:pt x="64484" y="0"/>
                    <a:pt x="146876" y="0"/>
                  </a:cubicBezTo>
                  <a:cubicBezTo>
                    <a:pt x="229267" y="0"/>
                    <a:pt x="292989" y="59605"/>
                    <a:pt x="292989" y="138769"/>
                  </a:cubicBezTo>
                  <a:cubicBezTo>
                    <a:pt x="292989" y="217932"/>
                    <a:pt x="228505" y="279027"/>
                    <a:pt x="146114" y="279027"/>
                  </a:cubicBezTo>
                  <a:close/>
                  <a:moveTo>
                    <a:pt x="146876" y="9313"/>
                  </a:moveTo>
                  <a:cubicBezTo>
                    <a:pt x="69914" y="9313"/>
                    <a:pt x="9525" y="66497"/>
                    <a:pt x="9525" y="139514"/>
                  </a:cubicBezTo>
                  <a:lnTo>
                    <a:pt x="9525" y="140259"/>
                  </a:lnTo>
                  <a:cubicBezTo>
                    <a:pt x="9525" y="214020"/>
                    <a:pt x="68199" y="269714"/>
                    <a:pt x="146114" y="269714"/>
                  </a:cubicBezTo>
                  <a:cubicBezTo>
                    <a:pt x="224028" y="269714"/>
                    <a:pt x="283464" y="212530"/>
                    <a:pt x="283464" y="139514"/>
                  </a:cubicBezTo>
                  <a:cubicBezTo>
                    <a:pt x="283464" y="66497"/>
                    <a:pt x="224695" y="9313"/>
                    <a:pt x="146876" y="9313"/>
                  </a:cubicBezTo>
                  <a:close/>
                  <a:moveTo>
                    <a:pt x="146876" y="226128"/>
                  </a:moveTo>
                  <a:cubicBezTo>
                    <a:pt x="98869" y="226128"/>
                    <a:pt x="61341" y="188129"/>
                    <a:pt x="61341" y="139514"/>
                  </a:cubicBezTo>
                  <a:cubicBezTo>
                    <a:pt x="61341" y="90898"/>
                    <a:pt x="97822" y="52900"/>
                    <a:pt x="146114" y="52900"/>
                  </a:cubicBezTo>
                  <a:cubicBezTo>
                    <a:pt x="194405" y="52900"/>
                    <a:pt x="231648" y="90898"/>
                    <a:pt x="231648" y="139514"/>
                  </a:cubicBezTo>
                  <a:lnTo>
                    <a:pt x="231648" y="140259"/>
                  </a:lnTo>
                  <a:cubicBezTo>
                    <a:pt x="231648" y="189247"/>
                    <a:pt x="195167" y="226128"/>
                    <a:pt x="146876" y="226128"/>
                  </a:cubicBezTo>
                  <a:close/>
                  <a:moveTo>
                    <a:pt x="146114" y="62213"/>
                  </a:moveTo>
                  <a:cubicBezTo>
                    <a:pt x="103251" y="62213"/>
                    <a:pt x="70866" y="95089"/>
                    <a:pt x="70866" y="138769"/>
                  </a:cubicBezTo>
                  <a:cubicBezTo>
                    <a:pt x="70866" y="182448"/>
                    <a:pt x="103537" y="216814"/>
                    <a:pt x="146876" y="216814"/>
                  </a:cubicBezTo>
                  <a:cubicBezTo>
                    <a:pt x="190214" y="216814"/>
                    <a:pt x="222123" y="183938"/>
                    <a:pt x="222123" y="140259"/>
                  </a:cubicBezTo>
                  <a:lnTo>
                    <a:pt x="222123" y="139514"/>
                  </a:lnTo>
                  <a:cubicBezTo>
                    <a:pt x="222123" y="95462"/>
                    <a:pt x="189452" y="62213"/>
                    <a:pt x="146114" y="62213"/>
                  </a:cubicBezTo>
                  <a:close/>
                </a:path>
              </a:pathLst>
            </a:cu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2400"/>
            </a:p>
          </p:txBody>
        </p:sp>
        <p:sp>
          <p:nvSpPr>
            <p:cNvPr id="27" name="Forme libre 26">
              <a:extLst>
                <a:ext uri="{FF2B5EF4-FFF2-40B4-BE49-F238E27FC236}">
                  <a16:creationId xmlns:a16="http://schemas.microsoft.com/office/drawing/2014/main" id="{76CC763C-6BBA-D061-D105-8D5DABA85143}"/>
                </a:ext>
              </a:extLst>
            </p:cNvPr>
            <p:cNvSpPr/>
            <p:nvPr/>
          </p:nvSpPr>
          <p:spPr>
            <a:xfrm>
              <a:off x="4075937" y="2432050"/>
              <a:ext cx="292989" cy="279027"/>
            </a:xfrm>
            <a:custGeom>
              <a:avLst/>
              <a:gdLst>
                <a:gd name="connsiteX0" fmla="*/ 146114 w 292989"/>
                <a:gd name="connsiteY0" fmla="*/ 279027 h 279027"/>
                <a:gd name="connsiteX1" fmla="*/ 0 w 292989"/>
                <a:gd name="connsiteY1" fmla="*/ 140259 h 279027"/>
                <a:gd name="connsiteX2" fmla="*/ 0 w 292989"/>
                <a:gd name="connsiteY2" fmla="*/ 139514 h 279027"/>
                <a:gd name="connsiteX3" fmla="*/ 146876 w 292989"/>
                <a:gd name="connsiteY3" fmla="*/ 0 h 279027"/>
                <a:gd name="connsiteX4" fmla="*/ 292989 w 292989"/>
                <a:gd name="connsiteY4" fmla="*/ 138769 h 279027"/>
                <a:gd name="connsiteX5" fmla="*/ 146114 w 292989"/>
                <a:gd name="connsiteY5" fmla="*/ 279027 h 279027"/>
                <a:gd name="connsiteX6" fmla="*/ 146876 w 292989"/>
                <a:gd name="connsiteY6" fmla="*/ 9313 h 279027"/>
                <a:gd name="connsiteX7" fmla="*/ 9525 w 292989"/>
                <a:gd name="connsiteY7" fmla="*/ 139514 h 279027"/>
                <a:gd name="connsiteX8" fmla="*/ 9525 w 292989"/>
                <a:gd name="connsiteY8" fmla="*/ 140259 h 279027"/>
                <a:gd name="connsiteX9" fmla="*/ 146114 w 292989"/>
                <a:gd name="connsiteY9" fmla="*/ 269714 h 279027"/>
                <a:gd name="connsiteX10" fmla="*/ 283464 w 292989"/>
                <a:gd name="connsiteY10" fmla="*/ 139514 h 279027"/>
                <a:gd name="connsiteX11" fmla="*/ 146876 w 292989"/>
                <a:gd name="connsiteY11" fmla="*/ 9313 h 279027"/>
                <a:gd name="connsiteX12" fmla="*/ 146876 w 292989"/>
                <a:gd name="connsiteY12" fmla="*/ 226128 h 279027"/>
                <a:gd name="connsiteX13" fmla="*/ 61341 w 292989"/>
                <a:gd name="connsiteY13" fmla="*/ 139514 h 279027"/>
                <a:gd name="connsiteX14" fmla="*/ 146114 w 292989"/>
                <a:gd name="connsiteY14" fmla="*/ 52900 h 279027"/>
                <a:gd name="connsiteX15" fmla="*/ 231648 w 292989"/>
                <a:gd name="connsiteY15" fmla="*/ 139514 h 279027"/>
                <a:gd name="connsiteX16" fmla="*/ 231648 w 292989"/>
                <a:gd name="connsiteY16" fmla="*/ 140259 h 279027"/>
                <a:gd name="connsiteX17" fmla="*/ 146876 w 292989"/>
                <a:gd name="connsiteY17" fmla="*/ 226128 h 279027"/>
                <a:gd name="connsiteX18" fmla="*/ 146114 w 292989"/>
                <a:gd name="connsiteY18" fmla="*/ 62213 h 279027"/>
                <a:gd name="connsiteX19" fmla="*/ 70866 w 292989"/>
                <a:gd name="connsiteY19" fmla="*/ 138769 h 279027"/>
                <a:gd name="connsiteX20" fmla="*/ 146876 w 292989"/>
                <a:gd name="connsiteY20" fmla="*/ 216814 h 279027"/>
                <a:gd name="connsiteX21" fmla="*/ 222123 w 292989"/>
                <a:gd name="connsiteY21" fmla="*/ 140259 h 279027"/>
                <a:gd name="connsiteX22" fmla="*/ 222123 w 292989"/>
                <a:gd name="connsiteY22" fmla="*/ 139514 h 279027"/>
                <a:gd name="connsiteX23" fmla="*/ 146114 w 292989"/>
                <a:gd name="connsiteY23" fmla="*/ 62213 h 2790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292989" h="279027">
                  <a:moveTo>
                    <a:pt x="146114" y="279027"/>
                  </a:moveTo>
                  <a:cubicBezTo>
                    <a:pt x="62865" y="279027"/>
                    <a:pt x="0" y="219422"/>
                    <a:pt x="0" y="140259"/>
                  </a:cubicBezTo>
                  <a:lnTo>
                    <a:pt x="0" y="139514"/>
                  </a:lnTo>
                  <a:cubicBezTo>
                    <a:pt x="0" y="61282"/>
                    <a:pt x="64484" y="0"/>
                    <a:pt x="146876" y="0"/>
                  </a:cubicBezTo>
                  <a:cubicBezTo>
                    <a:pt x="229267" y="0"/>
                    <a:pt x="292989" y="59605"/>
                    <a:pt x="292989" y="138769"/>
                  </a:cubicBezTo>
                  <a:cubicBezTo>
                    <a:pt x="292989" y="217932"/>
                    <a:pt x="228505" y="279027"/>
                    <a:pt x="146114" y="279027"/>
                  </a:cubicBezTo>
                  <a:close/>
                  <a:moveTo>
                    <a:pt x="146876" y="9313"/>
                  </a:moveTo>
                  <a:cubicBezTo>
                    <a:pt x="69914" y="9313"/>
                    <a:pt x="9525" y="66497"/>
                    <a:pt x="9525" y="139514"/>
                  </a:cubicBezTo>
                  <a:lnTo>
                    <a:pt x="9525" y="140259"/>
                  </a:lnTo>
                  <a:cubicBezTo>
                    <a:pt x="9525" y="214020"/>
                    <a:pt x="68199" y="269714"/>
                    <a:pt x="146114" y="269714"/>
                  </a:cubicBezTo>
                  <a:cubicBezTo>
                    <a:pt x="224028" y="269714"/>
                    <a:pt x="283464" y="212530"/>
                    <a:pt x="283464" y="139514"/>
                  </a:cubicBezTo>
                  <a:cubicBezTo>
                    <a:pt x="283464" y="66497"/>
                    <a:pt x="224790" y="9313"/>
                    <a:pt x="146876" y="9313"/>
                  </a:cubicBezTo>
                  <a:close/>
                  <a:moveTo>
                    <a:pt x="146876" y="226128"/>
                  </a:moveTo>
                  <a:cubicBezTo>
                    <a:pt x="98870" y="226128"/>
                    <a:pt x="61341" y="188129"/>
                    <a:pt x="61341" y="139514"/>
                  </a:cubicBezTo>
                  <a:cubicBezTo>
                    <a:pt x="61341" y="90898"/>
                    <a:pt x="97822" y="52900"/>
                    <a:pt x="146114" y="52900"/>
                  </a:cubicBezTo>
                  <a:cubicBezTo>
                    <a:pt x="194405" y="52900"/>
                    <a:pt x="231648" y="90898"/>
                    <a:pt x="231648" y="139514"/>
                  </a:cubicBezTo>
                  <a:lnTo>
                    <a:pt x="231648" y="140259"/>
                  </a:lnTo>
                  <a:cubicBezTo>
                    <a:pt x="231648" y="189247"/>
                    <a:pt x="195167" y="226128"/>
                    <a:pt x="146876" y="226128"/>
                  </a:cubicBezTo>
                  <a:close/>
                  <a:moveTo>
                    <a:pt x="146114" y="62213"/>
                  </a:moveTo>
                  <a:cubicBezTo>
                    <a:pt x="103251" y="62213"/>
                    <a:pt x="70866" y="95089"/>
                    <a:pt x="70866" y="138769"/>
                  </a:cubicBezTo>
                  <a:cubicBezTo>
                    <a:pt x="70866" y="182448"/>
                    <a:pt x="103537" y="216814"/>
                    <a:pt x="146876" y="216814"/>
                  </a:cubicBezTo>
                  <a:cubicBezTo>
                    <a:pt x="190214" y="216814"/>
                    <a:pt x="222123" y="183938"/>
                    <a:pt x="222123" y="140259"/>
                  </a:cubicBezTo>
                  <a:lnTo>
                    <a:pt x="222123" y="139514"/>
                  </a:lnTo>
                  <a:cubicBezTo>
                    <a:pt x="222123" y="95462"/>
                    <a:pt x="189452" y="62213"/>
                    <a:pt x="146114" y="62213"/>
                  </a:cubicBezTo>
                  <a:close/>
                </a:path>
              </a:pathLst>
            </a:cu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2400"/>
            </a:p>
          </p:txBody>
        </p:sp>
        <p:sp>
          <p:nvSpPr>
            <p:cNvPr id="28" name="Forme libre 27">
              <a:extLst>
                <a:ext uri="{FF2B5EF4-FFF2-40B4-BE49-F238E27FC236}">
                  <a16:creationId xmlns:a16="http://schemas.microsoft.com/office/drawing/2014/main" id="{4960D3D8-39AC-773E-347C-1E330004864C}"/>
                </a:ext>
              </a:extLst>
            </p:cNvPr>
            <p:cNvSpPr/>
            <p:nvPr/>
          </p:nvSpPr>
          <p:spPr>
            <a:xfrm>
              <a:off x="4414266" y="2436520"/>
              <a:ext cx="68198" cy="270086"/>
            </a:xfrm>
            <a:custGeom>
              <a:avLst/>
              <a:gdLst>
                <a:gd name="connsiteX0" fmla="*/ 68199 w 68198"/>
                <a:gd name="connsiteY0" fmla="*/ 270087 h 270086"/>
                <a:gd name="connsiteX1" fmla="*/ 0 w 68198"/>
                <a:gd name="connsiteY1" fmla="*/ 270087 h 270086"/>
                <a:gd name="connsiteX2" fmla="*/ 0 w 68198"/>
                <a:gd name="connsiteY2" fmla="*/ 0 h 270086"/>
                <a:gd name="connsiteX3" fmla="*/ 68199 w 68198"/>
                <a:gd name="connsiteY3" fmla="*/ 0 h 270086"/>
                <a:gd name="connsiteX4" fmla="*/ 68199 w 68198"/>
                <a:gd name="connsiteY4" fmla="*/ 270087 h 270086"/>
                <a:gd name="connsiteX5" fmla="*/ 9525 w 68198"/>
                <a:gd name="connsiteY5" fmla="*/ 260773 h 270086"/>
                <a:gd name="connsiteX6" fmla="*/ 58674 w 68198"/>
                <a:gd name="connsiteY6" fmla="*/ 260773 h 270086"/>
                <a:gd name="connsiteX7" fmla="*/ 58674 w 68198"/>
                <a:gd name="connsiteY7" fmla="*/ 9313 h 270086"/>
                <a:gd name="connsiteX8" fmla="*/ 9525 w 68198"/>
                <a:gd name="connsiteY8" fmla="*/ 9313 h 270086"/>
                <a:gd name="connsiteX9" fmla="*/ 9525 w 68198"/>
                <a:gd name="connsiteY9" fmla="*/ 260773 h 2700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68198" h="270086">
                  <a:moveTo>
                    <a:pt x="68199" y="270087"/>
                  </a:moveTo>
                  <a:lnTo>
                    <a:pt x="0" y="270087"/>
                  </a:lnTo>
                  <a:lnTo>
                    <a:pt x="0" y="0"/>
                  </a:lnTo>
                  <a:lnTo>
                    <a:pt x="68199" y="0"/>
                  </a:lnTo>
                  <a:lnTo>
                    <a:pt x="68199" y="270087"/>
                  </a:lnTo>
                  <a:close/>
                  <a:moveTo>
                    <a:pt x="9525" y="260773"/>
                  </a:moveTo>
                  <a:lnTo>
                    <a:pt x="58674" y="260773"/>
                  </a:lnTo>
                  <a:lnTo>
                    <a:pt x="58674" y="9313"/>
                  </a:lnTo>
                  <a:lnTo>
                    <a:pt x="9525" y="9313"/>
                  </a:lnTo>
                  <a:lnTo>
                    <a:pt x="9525" y="260773"/>
                  </a:lnTo>
                  <a:close/>
                </a:path>
              </a:pathLst>
            </a:cu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2400"/>
            </a:p>
          </p:txBody>
        </p:sp>
        <p:sp>
          <p:nvSpPr>
            <p:cNvPr id="29" name="Forme libre 28">
              <a:extLst>
                <a:ext uri="{FF2B5EF4-FFF2-40B4-BE49-F238E27FC236}">
                  <a16:creationId xmlns:a16="http://schemas.microsoft.com/office/drawing/2014/main" id="{EBBF9781-2595-876B-1B2F-C0231166EA07}"/>
                </a:ext>
              </a:extLst>
            </p:cNvPr>
            <p:cNvSpPr/>
            <p:nvPr/>
          </p:nvSpPr>
          <p:spPr>
            <a:xfrm>
              <a:off x="4756404" y="2432050"/>
              <a:ext cx="292988" cy="279027"/>
            </a:xfrm>
            <a:custGeom>
              <a:avLst/>
              <a:gdLst>
                <a:gd name="connsiteX0" fmla="*/ 146113 w 292988"/>
                <a:gd name="connsiteY0" fmla="*/ 279027 h 279027"/>
                <a:gd name="connsiteX1" fmla="*/ 0 w 292988"/>
                <a:gd name="connsiteY1" fmla="*/ 140259 h 279027"/>
                <a:gd name="connsiteX2" fmla="*/ 0 w 292988"/>
                <a:gd name="connsiteY2" fmla="*/ 139514 h 279027"/>
                <a:gd name="connsiteX3" fmla="*/ 146875 w 292988"/>
                <a:gd name="connsiteY3" fmla="*/ 0 h 279027"/>
                <a:gd name="connsiteX4" fmla="*/ 292989 w 292988"/>
                <a:gd name="connsiteY4" fmla="*/ 138769 h 279027"/>
                <a:gd name="connsiteX5" fmla="*/ 146113 w 292988"/>
                <a:gd name="connsiteY5" fmla="*/ 279027 h 279027"/>
                <a:gd name="connsiteX6" fmla="*/ 146875 w 292988"/>
                <a:gd name="connsiteY6" fmla="*/ 9313 h 279027"/>
                <a:gd name="connsiteX7" fmla="*/ 9525 w 292988"/>
                <a:gd name="connsiteY7" fmla="*/ 139514 h 279027"/>
                <a:gd name="connsiteX8" fmla="*/ 9525 w 292988"/>
                <a:gd name="connsiteY8" fmla="*/ 140259 h 279027"/>
                <a:gd name="connsiteX9" fmla="*/ 146113 w 292988"/>
                <a:gd name="connsiteY9" fmla="*/ 269714 h 279027"/>
                <a:gd name="connsiteX10" fmla="*/ 283464 w 292988"/>
                <a:gd name="connsiteY10" fmla="*/ 139514 h 279027"/>
                <a:gd name="connsiteX11" fmla="*/ 146875 w 292988"/>
                <a:gd name="connsiteY11" fmla="*/ 9313 h 279027"/>
                <a:gd name="connsiteX12" fmla="*/ 146875 w 292988"/>
                <a:gd name="connsiteY12" fmla="*/ 226128 h 279027"/>
                <a:gd name="connsiteX13" fmla="*/ 61341 w 292988"/>
                <a:gd name="connsiteY13" fmla="*/ 139514 h 279027"/>
                <a:gd name="connsiteX14" fmla="*/ 146113 w 292988"/>
                <a:gd name="connsiteY14" fmla="*/ 52900 h 279027"/>
                <a:gd name="connsiteX15" fmla="*/ 231648 w 292988"/>
                <a:gd name="connsiteY15" fmla="*/ 139514 h 279027"/>
                <a:gd name="connsiteX16" fmla="*/ 231648 w 292988"/>
                <a:gd name="connsiteY16" fmla="*/ 140259 h 279027"/>
                <a:gd name="connsiteX17" fmla="*/ 146875 w 292988"/>
                <a:gd name="connsiteY17" fmla="*/ 226128 h 279027"/>
                <a:gd name="connsiteX18" fmla="*/ 146113 w 292988"/>
                <a:gd name="connsiteY18" fmla="*/ 62213 h 279027"/>
                <a:gd name="connsiteX19" fmla="*/ 70866 w 292988"/>
                <a:gd name="connsiteY19" fmla="*/ 138769 h 279027"/>
                <a:gd name="connsiteX20" fmla="*/ 146875 w 292988"/>
                <a:gd name="connsiteY20" fmla="*/ 216814 h 279027"/>
                <a:gd name="connsiteX21" fmla="*/ 222123 w 292988"/>
                <a:gd name="connsiteY21" fmla="*/ 140259 h 279027"/>
                <a:gd name="connsiteX22" fmla="*/ 222123 w 292988"/>
                <a:gd name="connsiteY22" fmla="*/ 139514 h 279027"/>
                <a:gd name="connsiteX23" fmla="*/ 146113 w 292988"/>
                <a:gd name="connsiteY23" fmla="*/ 62213 h 2790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292988" h="279027">
                  <a:moveTo>
                    <a:pt x="146113" y="279027"/>
                  </a:moveTo>
                  <a:cubicBezTo>
                    <a:pt x="62865" y="279027"/>
                    <a:pt x="0" y="219422"/>
                    <a:pt x="0" y="140259"/>
                  </a:cubicBezTo>
                  <a:lnTo>
                    <a:pt x="0" y="139514"/>
                  </a:lnTo>
                  <a:cubicBezTo>
                    <a:pt x="0" y="61282"/>
                    <a:pt x="64484" y="0"/>
                    <a:pt x="146875" y="0"/>
                  </a:cubicBezTo>
                  <a:cubicBezTo>
                    <a:pt x="229267" y="0"/>
                    <a:pt x="292989" y="59605"/>
                    <a:pt x="292989" y="138769"/>
                  </a:cubicBezTo>
                  <a:cubicBezTo>
                    <a:pt x="292989" y="217932"/>
                    <a:pt x="228505" y="279027"/>
                    <a:pt x="146113" y="279027"/>
                  </a:cubicBezTo>
                  <a:close/>
                  <a:moveTo>
                    <a:pt x="146875" y="9313"/>
                  </a:moveTo>
                  <a:cubicBezTo>
                    <a:pt x="69913" y="9313"/>
                    <a:pt x="9525" y="66497"/>
                    <a:pt x="9525" y="139514"/>
                  </a:cubicBezTo>
                  <a:lnTo>
                    <a:pt x="9525" y="140259"/>
                  </a:lnTo>
                  <a:cubicBezTo>
                    <a:pt x="9525" y="214020"/>
                    <a:pt x="68199" y="269714"/>
                    <a:pt x="146113" y="269714"/>
                  </a:cubicBezTo>
                  <a:cubicBezTo>
                    <a:pt x="224028" y="269714"/>
                    <a:pt x="283464" y="212530"/>
                    <a:pt x="283464" y="139514"/>
                  </a:cubicBezTo>
                  <a:cubicBezTo>
                    <a:pt x="283464" y="66497"/>
                    <a:pt x="224790" y="9313"/>
                    <a:pt x="146875" y="9313"/>
                  </a:cubicBezTo>
                  <a:close/>
                  <a:moveTo>
                    <a:pt x="146875" y="226128"/>
                  </a:moveTo>
                  <a:cubicBezTo>
                    <a:pt x="98869" y="226128"/>
                    <a:pt x="61341" y="188129"/>
                    <a:pt x="61341" y="139514"/>
                  </a:cubicBezTo>
                  <a:cubicBezTo>
                    <a:pt x="61341" y="90898"/>
                    <a:pt x="97822" y="52900"/>
                    <a:pt x="146113" y="52900"/>
                  </a:cubicBezTo>
                  <a:cubicBezTo>
                    <a:pt x="194405" y="52900"/>
                    <a:pt x="231648" y="90898"/>
                    <a:pt x="231648" y="139514"/>
                  </a:cubicBezTo>
                  <a:lnTo>
                    <a:pt x="231648" y="140259"/>
                  </a:lnTo>
                  <a:cubicBezTo>
                    <a:pt x="231648" y="189247"/>
                    <a:pt x="195167" y="226128"/>
                    <a:pt x="146875" y="226128"/>
                  </a:cubicBezTo>
                  <a:close/>
                  <a:moveTo>
                    <a:pt x="146113" y="62213"/>
                  </a:moveTo>
                  <a:cubicBezTo>
                    <a:pt x="103251" y="62213"/>
                    <a:pt x="70866" y="95089"/>
                    <a:pt x="70866" y="138769"/>
                  </a:cubicBezTo>
                  <a:cubicBezTo>
                    <a:pt x="70866" y="182448"/>
                    <a:pt x="103537" y="216814"/>
                    <a:pt x="146875" y="216814"/>
                  </a:cubicBezTo>
                  <a:cubicBezTo>
                    <a:pt x="190214" y="216814"/>
                    <a:pt x="222123" y="183938"/>
                    <a:pt x="222123" y="140259"/>
                  </a:cubicBezTo>
                  <a:lnTo>
                    <a:pt x="222123" y="139514"/>
                  </a:lnTo>
                  <a:cubicBezTo>
                    <a:pt x="222123" y="95462"/>
                    <a:pt x="189452" y="62213"/>
                    <a:pt x="146113" y="62213"/>
                  </a:cubicBezTo>
                  <a:close/>
                </a:path>
              </a:pathLst>
            </a:cu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2400"/>
            </a:p>
          </p:txBody>
        </p:sp>
        <p:sp>
          <p:nvSpPr>
            <p:cNvPr id="30" name="Forme libre 29">
              <a:extLst>
                <a:ext uri="{FF2B5EF4-FFF2-40B4-BE49-F238E27FC236}">
                  <a16:creationId xmlns:a16="http://schemas.microsoft.com/office/drawing/2014/main" id="{8FF802FB-067A-3F97-A999-552AA3377D4C}"/>
                </a:ext>
              </a:extLst>
            </p:cNvPr>
            <p:cNvSpPr/>
            <p:nvPr/>
          </p:nvSpPr>
          <p:spPr>
            <a:xfrm>
              <a:off x="5094732" y="2436520"/>
              <a:ext cx="68198" cy="270086"/>
            </a:xfrm>
            <a:custGeom>
              <a:avLst/>
              <a:gdLst>
                <a:gd name="connsiteX0" fmla="*/ 68199 w 68198"/>
                <a:gd name="connsiteY0" fmla="*/ 270087 h 270086"/>
                <a:gd name="connsiteX1" fmla="*/ 0 w 68198"/>
                <a:gd name="connsiteY1" fmla="*/ 270087 h 270086"/>
                <a:gd name="connsiteX2" fmla="*/ 0 w 68198"/>
                <a:gd name="connsiteY2" fmla="*/ 0 h 270086"/>
                <a:gd name="connsiteX3" fmla="*/ 68199 w 68198"/>
                <a:gd name="connsiteY3" fmla="*/ 0 h 270086"/>
                <a:gd name="connsiteX4" fmla="*/ 68199 w 68198"/>
                <a:gd name="connsiteY4" fmla="*/ 270087 h 270086"/>
                <a:gd name="connsiteX5" fmla="*/ 9525 w 68198"/>
                <a:gd name="connsiteY5" fmla="*/ 260773 h 270086"/>
                <a:gd name="connsiteX6" fmla="*/ 58674 w 68198"/>
                <a:gd name="connsiteY6" fmla="*/ 260773 h 270086"/>
                <a:gd name="connsiteX7" fmla="*/ 58674 w 68198"/>
                <a:gd name="connsiteY7" fmla="*/ 9313 h 270086"/>
                <a:gd name="connsiteX8" fmla="*/ 9525 w 68198"/>
                <a:gd name="connsiteY8" fmla="*/ 9313 h 270086"/>
                <a:gd name="connsiteX9" fmla="*/ 9525 w 68198"/>
                <a:gd name="connsiteY9" fmla="*/ 260773 h 2700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68198" h="270086">
                  <a:moveTo>
                    <a:pt x="68199" y="270087"/>
                  </a:moveTo>
                  <a:lnTo>
                    <a:pt x="0" y="270087"/>
                  </a:lnTo>
                  <a:lnTo>
                    <a:pt x="0" y="0"/>
                  </a:lnTo>
                  <a:lnTo>
                    <a:pt x="68199" y="0"/>
                  </a:lnTo>
                  <a:lnTo>
                    <a:pt x="68199" y="270087"/>
                  </a:lnTo>
                  <a:close/>
                  <a:moveTo>
                    <a:pt x="9525" y="260773"/>
                  </a:moveTo>
                  <a:lnTo>
                    <a:pt x="58674" y="260773"/>
                  </a:lnTo>
                  <a:lnTo>
                    <a:pt x="58674" y="9313"/>
                  </a:lnTo>
                  <a:lnTo>
                    <a:pt x="9525" y="9313"/>
                  </a:lnTo>
                  <a:lnTo>
                    <a:pt x="9525" y="260773"/>
                  </a:lnTo>
                  <a:close/>
                </a:path>
              </a:pathLst>
            </a:cu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2400"/>
            </a:p>
          </p:txBody>
        </p:sp>
        <p:sp>
          <p:nvSpPr>
            <p:cNvPr id="31" name="Forme libre 30">
              <a:extLst>
                <a:ext uri="{FF2B5EF4-FFF2-40B4-BE49-F238E27FC236}">
                  <a16:creationId xmlns:a16="http://schemas.microsoft.com/office/drawing/2014/main" id="{632D6592-4908-873C-DD29-F79D4651A390}"/>
                </a:ext>
              </a:extLst>
            </p:cNvPr>
            <p:cNvSpPr/>
            <p:nvPr/>
          </p:nvSpPr>
          <p:spPr>
            <a:xfrm>
              <a:off x="5208174" y="2432050"/>
              <a:ext cx="292989" cy="279027"/>
            </a:xfrm>
            <a:custGeom>
              <a:avLst/>
              <a:gdLst>
                <a:gd name="connsiteX0" fmla="*/ 146114 w 292989"/>
                <a:gd name="connsiteY0" fmla="*/ 279027 h 279027"/>
                <a:gd name="connsiteX1" fmla="*/ 0 w 292989"/>
                <a:gd name="connsiteY1" fmla="*/ 140259 h 279027"/>
                <a:gd name="connsiteX2" fmla="*/ 0 w 292989"/>
                <a:gd name="connsiteY2" fmla="*/ 139514 h 279027"/>
                <a:gd name="connsiteX3" fmla="*/ 146876 w 292989"/>
                <a:gd name="connsiteY3" fmla="*/ 0 h 279027"/>
                <a:gd name="connsiteX4" fmla="*/ 292989 w 292989"/>
                <a:gd name="connsiteY4" fmla="*/ 138769 h 279027"/>
                <a:gd name="connsiteX5" fmla="*/ 146114 w 292989"/>
                <a:gd name="connsiteY5" fmla="*/ 279027 h 279027"/>
                <a:gd name="connsiteX6" fmla="*/ 146876 w 292989"/>
                <a:gd name="connsiteY6" fmla="*/ 9313 h 279027"/>
                <a:gd name="connsiteX7" fmla="*/ 9525 w 292989"/>
                <a:gd name="connsiteY7" fmla="*/ 139514 h 279027"/>
                <a:gd name="connsiteX8" fmla="*/ 9525 w 292989"/>
                <a:gd name="connsiteY8" fmla="*/ 140259 h 279027"/>
                <a:gd name="connsiteX9" fmla="*/ 146114 w 292989"/>
                <a:gd name="connsiteY9" fmla="*/ 269714 h 279027"/>
                <a:gd name="connsiteX10" fmla="*/ 283464 w 292989"/>
                <a:gd name="connsiteY10" fmla="*/ 139514 h 279027"/>
                <a:gd name="connsiteX11" fmla="*/ 146876 w 292989"/>
                <a:gd name="connsiteY11" fmla="*/ 9313 h 279027"/>
                <a:gd name="connsiteX12" fmla="*/ 146876 w 292989"/>
                <a:gd name="connsiteY12" fmla="*/ 226128 h 279027"/>
                <a:gd name="connsiteX13" fmla="*/ 61341 w 292989"/>
                <a:gd name="connsiteY13" fmla="*/ 139514 h 279027"/>
                <a:gd name="connsiteX14" fmla="*/ 146114 w 292989"/>
                <a:gd name="connsiteY14" fmla="*/ 52900 h 279027"/>
                <a:gd name="connsiteX15" fmla="*/ 231648 w 292989"/>
                <a:gd name="connsiteY15" fmla="*/ 139514 h 279027"/>
                <a:gd name="connsiteX16" fmla="*/ 231648 w 292989"/>
                <a:gd name="connsiteY16" fmla="*/ 140259 h 279027"/>
                <a:gd name="connsiteX17" fmla="*/ 146876 w 292989"/>
                <a:gd name="connsiteY17" fmla="*/ 226128 h 279027"/>
                <a:gd name="connsiteX18" fmla="*/ 146114 w 292989"/>
                <a:gd name="connsiteY18" fmla="*/ 62213 h 279027"/>
                <a:gd name="connsiteX19" fmla="*/ 70866 w 292989"/>
                <a:gd name="connsiteY19" fmla="*/ 138769 h 279027"/>
                <a:gd name="connsiteX20" fmla="*/ 146876 w 292989"/>
                <a:gd name="connsiteY20" fmla="*/ 216814 h 279027"/>
                <a:gd name="connsiteX21" fmla="*/ 222123 w 292989"/>
                <a:gd name="connsiteY21" fmla="*/ 140259 h 279027"/>
                <a:gd name="connsiteX22" fmla="*/ 222123 w 292989"/>
                <a:gd name="connsiteY22" fmla="*/ 139514 h 279027"/>
                <a:gd name="connsiteX23" fmla="*/ 146114 w 292989"/>
                <a:gd name="connsiteY23" fmla="*/ 62213 h 2790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292989" h="279027">
                  <a:moveTo>
                    <a:pt x="146114" y="279027"/>
                  </a:moveTo>
                  <a:cubicBezTo>
                    <a:pt x="62865" y="279027"/>
                    <a:pt x="0" y="219422"/>
                    <a:pt x="0" y="140259"/>
                  </a:cubicBezTo>
                  <a:lnTo>
                    <a:pt x="0" y="139514"/>
                  </a:lnTo>
                  <a:cubicBezTo>
                    <a:pt x="0" y="61282"/>
                    <a:pt x="64484" y="0"/>
                    <a:pt x="146876" y="0"/>
                  </a:cubicBezTo>
                  <a:cubicBezTo>
                    <a:pt x="229267" y="0"/>
                    <a:pt x="292989" y="59605"/>
                    <a:pt x="292989" y="138769"/>
                  </a:cubicBezTo>
                  <a:cubicBezTo>
                    <a:pt x="292989" y="217932"/>
                    <a:pt x="228505" y="279027"/>
                    <a:pt x="146114" y="279027"/>
                  </a:cubicBezTo>
                  <a:close/>
                  <a:moveTo>
                    <a:pt x="146876" y="9313"/>
                  </a:moveTo>
                  <a:cubicBezTo>
                    <a:pt x="69914" y="9313"/>
                    <a:pt x="9525" y="66497"/>
                    <a:pt x="9525" y="139514"/>
                  </a:cubicBezTo>
                  <a:lnTo>
                    <a:pt x="9525" y="140259"/>
                  </a:lnTo>
                  <a:cubicBezTo>
                    <a:pt x="9525" y="214020"/>
                    <a:pt x="68199" y="269714"/>
                    <a:pt x="146114" y="269714"/>
                  </a:cubicBezTo>
                  <a:cubicBezTo>
                    <a:pt x="224028" y="269714"/>
                    <a:pt x="283464" y="212530"/>
                    <a:pt x="283464" y="139514"/>
                  </a:cubicBezTo>
                  <a:cubicBezTo>
                    <a:pt x="283464" y="66497"/>
                    <a:pt x="224790" y="9313"/>
                    <a:pt x="146876" y="9313"/>
                  </a:cubicBezTo>
                  <a:close/>
                  <a:moveTo>
                    <a:pt x="146876" y="226128"/>
                  </a:moveTo>
                  <a:cubicBezTo>
                    <a:pt x="98870" y="226128"/>
                    <a:pt x="61341" y="188129"/>
                    <a:pt x="61341" y="139514"/>
                  </a:cubicBezTo>
                  <a:cubicBezTo>
                    <a:pt x="61341" y="90898"/>
                    <a:pt x="97822" y="52900"/>
                    <a:pt x="146114" y="52900"/>
                  </a:cubicBezTo>
                  <a:cubicBezTo>
                    <a:pt x="194405" y="52900"/>
                    <a:pt x="231648" y="90898"/>
                    <a:pt x="231648" y="139514"/>
                  </a:cubicBezTo>
                  <a:lnTo>
                    <a:pt x="231648" y="140259"/>
                  </a:lnTo>
                  <a:cubicBezTo>
                    <a:pt x="231648" y="189247"/>
                    <a:pt x="195167" y="226128"/>
                    <a:pt x="146876" y="226128"/>
                  </a:cubicBezTo>
                  <a:close/>
                  <a:moveTo>
                    <a:pt x="146114" y="62213"/>
                  </a:moveTo>
                  <a:cubicBezTo>
                    <a:pt x="103251" y="62213"/>
                    <a:pt x="70866" y="95089"/>
                    <a:pt x="70866" y="138769"/>
                  </a:cubicBezTo>
                  <a:cubicBezTo>
                    <a:pt x="70866" y="182448"/>
                    <a:pt x="103537" y="216814"/>
                    <a:pt x="146876" y="216814"/>
                  </a:cubicBezTo>
                  <a:cubicBezTo>
                    <a:pt x="190214" y="216814"/>
                    <a:pt x="222123" y="183938"/>
                    <a:pt x="222123" y="140259"/>
                  </a:cubicBezTo>
                  <a:lnTo>
                    <a:pt x="222123" y="139514"/>
                  </a:lnTo>
                  <a:cubicBezTo>
                    <a:pt x="222123" y="95462"/>
                    <a:pt x="189452" y="62213"/>
                    <a:pt x="146114" y="62213"/>
                  </a:cubicBezTo>
                  <a:close/>
                </a:path>
              </a:pathLst>
            </a:cu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2400"/>
            </a:p>
          </p:txBody>
        </p:sp>
      </p:grpSp>
    </p:spTree>
    <p:extLst>
      <p:ext uri="{BB962C8B-B14F-4D97-AF65-F5344CB8AC3E}">
        <p14:creationId xmlns:p14="http://schemas.microsoft.com/office/powerpoint/2010/main" val="30220690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V1.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reeform: Shape 1">
            <a:extLst>
              <a:ext uri="{FF2B5EF4-FFF2-40B4-BE49-F238E27FC236}">
                <a16:creationId xmlns:a16="http://schemas.microsoft.com/office/drawing/2014/main" id="{5B975FFC-89CE-1C9E-0EFF-EE539DA5EC02}"/>
              </a:ext>
            </a:extLst>
          </p:cNvPr>
          <p:cNvSpPr/>
          <p:nvPr userDrawn="1"/>
        </p:nvSpPr>
        <p:spPr>
          <a:xfrm>
            <a:off x="1" y="2132157"/>
            <a:ext cx="12192001" cy="4725843"/>
          </a:xfrm>
          <a:custGeom>
            <a:avLst/>
            <a:gdLst>
              <a:gd name="connsiteX0" fmla="*/ 9144001 w 9144001"/>
              <a:gd name="connsiteY0" fmla="*/ 0 h 3544382"/>
              <a:gd name="connsiteX1" fmla="*/ 9144001 w 9144001"/>
              <a:gd name="connsiteY1" fmla="*/ 3544382 h 3544382"/>
              <a:gd name="connsiteX2" fmla="*/ 0 w 9144001"/>
              <a:gd name="connsiteY2" fmla="*/ 3544382 h 3544382"/>
              <a:gd name="connsiteX3" fmla="*/ 0 w 9144001"/>
              <a:gd name="connsiteY3" fmla="*/ 1783833 h 35443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144001" h="3544382">
                <a:moveTo>
                  <a:pt x="9144001" y="0"/>
                </a:moveTo>
                <a:lnTo>
                  <a:pt x="9144001" y="3544382"/>
                </a:lnTo>
                <a:lnTo>
                  <a:pt x="0" y="3544382"/>
                </a:lnTo>
                <a:lnTo>
                  <a:pt x="0" y="1783833"/>
                </a:lnTo>
                <a:close/>
              </a:path>
            </a:pathLst>
          </a:custGeom>
          <a:solidFill>
            <a:schemeClr val="accent5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rtl="0"/>
            <a:endParaRPr lang="en-GB" sz="2400" noProof="0" dirty="0"/>
          </a:p>
        </p:txBody>
      </p:sp>
      <p:pic>
        <p:nvPicPr>
          <p:cNvPr id="31" name="Graphique 30">
            <a:extLst>
              <a:ext uri="{FF2B5EF4-FFF2-40B4-BE49-F238E27FC236}">
                <a16:creationId xmlns:a16="http://schemas.microsoft.com/office/drawing/2014/main" id="{94AD60FA-8898-1B98-D0E0-82962C11CA3D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-118667" y="86355"/>
            <a:ext cx="12236556" cy="6664400"/>
          </a:xfrm>
          <a:prstGeom prst="rect">
            <a:avLst/>
          </a:prstGeom>
        </p:spPr>
      </p:pic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E89DA208-FF29-BD85-A07A-19955C3DDCE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04434392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1" imgH="351" progId="TCLayout.ActiveDocument.1">
                  <p:embed/>
                </p:oleObj>
              </mc:Choice>
              <mc:Fallback>
                <p:oleObj name="think-cell Slide" r:id="rId4" imgW="351" imgH="351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89DA208-FF29-BD85-A07A-19955C3DDC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think-cell data - do not delete" hidden="1">
            <a:extLst>
              <a:ext uri="{FF2B5EF4-FFF2-40B4-BE49-F238E27FC236}">
                <a16:creationId xmlns:a16="http://schemas.microsoft.com/office/drawing/2014/main" id="{95BE00FD-AC64-4728-13C4-C596D90ED4A5}"/>
              </a:ext>
            </a:extLst>
          </p:cNvPr>
          <p:cNvPicPr/>
          <p:nvPr/>
        </p:nvPicPr>
        <p:blipFill>
          <a:blip r:embed="rId5"/>
          <a:stretch>
            <a:fillRect/>
          </a:stretch>
        </p:blipFill>
        <p:spPr>
          <a:xfrm>
            <a:off x="2118" y="2118"/>
            <a:ext cx="2117" cy="2117"/>
          </a:xfrm>
          <a:prstGeom prst="rect">
            <a:avLst/>
          </a:prstGeom>
        </p:spPr>
      </p:pic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3BCB53AC-B6F0-3367-0BAB-6741BCDF9018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416467" y="1612499"/>
            <a:ext cx="3312000" cy="3984000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anchor="t"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667"/>
              </a:spcAft>
              <a:buFont typeface="Arial" panose="020B0604020202020204" pitchFamily="34" charset="0"/>
              <a:buNone/>
              <a:defRPr sz="1200" b="0" spc="-27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noProof="0" dirty="0"/>
              <a:t>  </a:t>
            </a: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F4745BED-F63E-024C-6D93-9BEF75E5CE54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198471" y="1612499"/>
            <a:ext cx="3312000" cy="3984000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anchor="t"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667"/>
              </a:spcAft>
              <a:buFont typeface="Arial" panose="020B0604020202020204" pitchFamily="34" charset="0"/>
              <a:buNone/>
              <a:defRPr sz="1200" b="0" spc="-27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noProof="0" dirty="0"/>
              <a:t>  </a:t>
            </a:r>
          </a:p>
        </p:txBody>
      </p:sp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B720EEFD-D5D4-1929-BBE3-03D37BAD88B8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563035" y="1612499"/>
            <a:ext cx="3312000" cy="3984000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anchor="t"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667"/>
              </a:spcAft>
              <a:buFont typeface="Arial" panose="020B0604020202020204" pitchFamily="34" charset="0"/>
              <a:buNone/>
              <a:defRPr sz="1200" b="0" spc="-27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noProof="0" dirty="0"/>
              <a:t>  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6B68FC12-26FE-8BA6-301A-07E884AE2223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563035" y="2020499"/>
            <a:ext cx="3312000" cy="3576000"/>
          </a:xfrm>
          <a:custGeom>
            <a:avLst/>
            <a:gdLst>
              <a:gd name="connsiteX0" fmla="*/ 2429999 w 2484000"/>
              <a:gd name="connsiteY0" fmla="*/ 0 h 2682000"/>
              <a:gd name="connsiteX1" fmla="*/ 2483999 w 2484000"/>
              <a:gd name="connsiteY1" fmla="*/ 0 h 2682000"/>
              <a:gd name="connsiteX2" fmla="*/ 2483999 w 2484000"/>
              <a:gd name="connsiteY2" fmla="*/ 2628000 h 2682000"/>
              <a:gd name="connsiteX3" fmla="*/ 2484000 w 2484000"/>
              <a:gd name="connsiteY3" fmla="*/ 2628000 h 2682000"/>
              <a:gd name="connsiteX4" fmla="*/ 2484000 w 2484000"/>
              <a:gd name="connsiteY4" fmla="*/ 2682000 h 2682000"/>
              <a:gd name="connsiteX5" fmla="*/ 2483999 w 2484000"/>
              <a:gd name="connsiteY5" fmla="*/ 2682000 h 2682000"/>
              <a:gd name="connsiteX6" fmla="*/ 2429999 w 2484000"/>
              <a:gd name="connsiteY6" fmla="*/ 2682000 h 2682000"/>
              <a:gd name="connsiteX7" fmla="*/ 0 w 2484000"/>
              <a:gd name="connsiteY7" fmla="*/ 2682000 h 2682000"/>
              <a:gd name="connsiteX8" fmla="*/ 0 w 2484000"/>
              <a:gd name="connsiteY8" fmla="*/ 2628000 h 2682000"/>
              <a:gd name="connsiteX9" fmla="*/ 2429999 w 2484000"/>
              <a:gd name="connsiteY9" fmla="*/ 2628000 h 268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484000" h="2682000">
                <a:moveTo>
                  <a:pt x="2429999" y="0"/>
                </a:moveTo>
                <a:lnTo>
                  <a:pt x="2483999" y="0"/>
                </a:lnTo>
                <a:lnTo>
                  <a:pt x="2483999" y="2628000"/>
                </a:lnTo>
                <a:lnTo>
                  <a:pt x="2484000" y="2628000"/>
                </a:lnTo>
                <a:lnTo>
                  <a:pt x="2484000" y="2682000"/>
                </a:lnTo>
                <a:lnTo>
                  <a:pt x="2483999" y="2682000"/>
                </a:lnTo>
                <a:lnTo>
                  <a:pt x="2429999" y="2682000"/>
                </a:lnTo>
                <a:lnTo>
                  <a:pt x="0" y="2682000"/>
                </a:lnTo>
                <a:lnTo>
                  <a:pt x="0" y="2628000"/>
                </a:lnTo>
                <a:lnTo>
                  <a:pt x="2429999" y="2628000"/>
                </a:lnTo>
                <a:close/>
              </a:path>
            </a:pathLst>
          </a:custGeom>
          <a:gradFill>
            <a:gsLst>
              <a:gs pos="0">
                <a:schemeClr val="accent6"/>
              </a:gs>
              <a:gs pos="100000">
                <a:schemeClr val="accent5"/>
              </a:gs>
            </a:gsLst>
            <a:lin ang="0" scaled="1"/>
          </a:gradFill>
        </p:spPr>
        <p:txBody>
          <a:bodyPr wrap="square" lIns="0" tIns="0" rIns="0" bIns="0" anchor="t"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667"/>
              </a:spcAft>
              <a:buFont typeface="Arial" panose="020B0604020202020204" pitchFamily="34" charset="0"/>
              <a:buNone/>
              <a:defRPr sz="1200" b="0" spc="-27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noProof="0" dirty="0"/>
              <a:t>  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726F1F4E-F851-4113-FE4D-00D9690A6E35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416467" y="2020499"/>
            <a:ext cx="3312000" cy="3576000"/>
          </a:xfrm>
          <a:custGeom>
            <a:avLst/>
            <a:gdLst>
              <a:gd name="connsiteX0" fmla="*/ 2429999 w 2484000"/>
              <a:gd name="connsiteY0" fmla="*/ 0 h 2682000"/>
              <a:gd name="connsiteX1" fmla="*/ 2483999 w 2484000"/>
              <a:gd name="connsiteY1" fmla="*/ 0 h 2682000"/>
              <a:gd name="connsiteX2" fmla="*/ 2483999 w 2484000"/>
              <a:gd name="connsiteY2" fmla="*/ 2628000 h 2682000"/>
              <a:gd name="connsiteX3" fmla="*/ 2484000 w 2484000"/>
              <a:gd name="connsiteY3" fmla="*/ 2628000 h 2682000"/>
              <a:gd name="connsiteX4" fmla="*/ 2484000 w 2484000"/>
              <a:gd name="connsiteY4" fmla="*/ 2682000 h 2682000"/>
              <a:gd name="connsiteX5" fmla="*/ 2483999 w 2484000"/>
              <a:gd name="connsiteY5" fmla="*/ 2682000 h 2682000"/>
              <a:gd name="connsiteX6" fmla="*/ 2429999 w 2484000"/>
              <a:gd name="connsiteY6" fmla="*/ 2682000 h 2682000"/>
              <a:gd name="connsiteX7" fmla="*/ 0 w 2484000"/>
              <a:gd name="connsiteY7" fmla="*/ 2682000 h 2682000"/>
              <a:gd name="connsiteX8" fmla="*/ 0 w 2484000"/>
              <a:gd name="connsiteY8" fmla="*/ 2628000 h 2682000"/>
              <a:gd name="connsiteX9" fmla="*/ 2429999 w 2484000"/>
              <a:gd name="connsiteY9" fmla="*/ 2628000 h 268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484000" h="2682000">
                <a:moveTo>
                  <a:pt x="2429999" y="0"/>
                </a:moveTo>
                <a:lnTo>
                  <a:pt x="2483999" y="0"/>
                </a:lnTo>
                <a:lnTo>
                  <a:pt x="2483999" y="2628000"/>
                </a:lnTo>
                <a:lnTo>
                  <a:pt x="2484000" y="2628000"/>
                </a:lnTo>
                <a:lnTo>
                  <a:pt x="2484000" y="2682000"/>
                </a:lnTo>
                <a:lnTo>
                  <a:pt x="2483999" y="2682000"/>
                </a:lnTo>
                <a:lnTo>
                  <a:pt x="2429999" y="2682000"/>
                </a:lnTo>
                <a:lnTo>
                  <a:pt x="0" y="2682000"/>
                </a:lnTo>
                <a:lnTo>
                  <a:pt x="0" y="2628000"/>
                </a:lnTo>
                <a:lnTo>
                  <a:pt x="2429999" y="2628000"/>
                </a:lnTo>
                <a:close/>
              </a:path>
            </a:pathLst>
          </a:custGeom>
          <a:gradFill>
            <a:gsLst>
              <a:gs pos="0">
                <a:schemeClr val="accent6"/>
              </a:gs>
              <a:gs pos="100000">
                <a:schemeClr val="accent5"/>
              </a:gs>
            </a:gsLst>
            <a:lin ang="0" scaled="1"/>
          </a:gradFill>
        </p:spPr>
        <p:txBody>
          <a:bodyPr wrap="square" lIns="0" tIns="0" rIns="0" bIns="0" anchor="t"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667"/>
              </a:spcAft>
              <a:buFont typeface="Arial" panose="020B0604020202020204" pitchFamily="34" charset="0"/>
              <a:buNone/>
              <a:defRPr sz="1200" b="0" spc="-27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noProof="0" dirty="0"/>
              <a:t>  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9B629CC0-926E-C3B5-6655-DEE1C31EF82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198471" y="2020499"/>
            <a:ext cx="3312000" cy="3576000"/>
          </a:xfrm>
          <a:custGeom>
            <a:avLst/>
            <a:gdLst>
              <a:gd name="connsiteX0" fmla="*/ 2429999 w 2484000"/>
              <a:gd name="connsiteY0" fmla="*/ 0 h 2682000"/>
              <a:gd name="connsiteX1" fmla="*/ 2483999 w 2484000"/>
              <a:gd name="connsiteY1" fmla="*/ 0 h 2682000"/>
              <a:gd name="connsiteX2" fmla="*/ 2483999 w 2484000"/>
              <a:gd name="connsiteY2" fmla="*/ 2628000 h 2682000"/>
              <a:gd name="connsiteX3" fmla="*/ 2484000 w 2484000"/>
              <a:gd name="connsiteY3" fmla="*/ 2628000 h 2682000"/>
              <a:gd name="connsiteX4" fmla="*/ 2484000 w 2484000"/>
              <a:gd name="connsiteY4" fmla="*/ 2682000 h 2682000"/>
              <a:gd name="connsiteX5" fmla="*/ 2483999 w 2484000"/>
              <a:gd name="connsiteY5" fmla="*/ 2682000 h 2682000"/>
              <a:gd name="connsiteX6" fmla="*/ 2429999 w 2484000"/>
              <a:gd name="connsiteY6" fmla="*/ 2682000 h 2682000"/>
              <a:gd name="connsiteX7" fmla="*/ 0 w 2484000"/>
              <a:gd name="connsiteY7" fmla="*/ 2682000 h 2682000"/>
              <a:gd name="connsiteX8" fmla="*/ 0 w 2484000"/>
              <a:gd name="connsiteY8" fmla="*/ 2628000 h 2682000"/>
              <a:gd name="connsiteX9" fmla="*/ 2429999 w 2484000"/>
              <a:gd name="connsiteY9" fmla="*/ 2628000 h 268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484000" h="2682000">
                <a:moveTo>
                  <a:pt x="2429999" y="0"/>
                </a:moveTo>
                <a:lnTo>
                  <a:pt x="2483999" y="0"/>
                </a:lnTo>
                <a:lnTo>
                  <a:pt x="2483999" y="2628000"/>
                </a:lnTo>
                <a:lnTo>
                  <a:pt x="2484000" y="2628000"/>
                </a:lnTo>
                <a:lnTo>
                  <a:pt x="2484000" y="2682000"/>
                </a:lnTo>
                <a:lnTo>
                  <a:pt x="2483999" y="2682000"/>
                </a:lnTo>
                <a:lnTo>
                  <a:pt x="2429999" y="2682000"/>
                </a:lnTo>
                <a:lnTo>
                  <a:pt x="0" y="2682000"/>
                </a:lnTo>
                <a:lnTo>
                  <a:pt x="0" y="2628000"/>
                </a:lnTo>
                <a:lnTo>
                  <a:pt x="2429999" y="2628000"/>
                </a:lnTo>
                <a:close/>
              </a:path>
            </a:pathLst>
          </a:custGeom>
          <a:gradFill>
            <a:gsLst>
              <a:gs pos="0">
                <a:schemeClr val="accent6"/>
              </a:gs>
              <a:gs pos="100000">
                <a:schemeClr val="accent5"/>
              </a:gs>
            </a:gsLst>
            <a:lin ang="0" scaled="1"/>
          </a:gradFill>
        </p:spPr>
        <p:txBody>
          <a:bodyPr wrap="square" lIns="0" tIns="0" rIns="0" bIns="0" anchor="t"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667"/>
              </a:spcAft>
              <a:buFont typeface="Arial" panose="020B0604020202020204" pitchFamily="34" charset="0"/>
              <a:buNone/>
              <a:defRPr sz="1200" b="0" spc="-27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noProof="0" dirty="0"/>
              <a:t>  </a:t>
            </a:r>
          </a:p>
        </p:txBody>
      </p:sp>
      <p:sp>
        <p:nvSpPr>
          <p:cNvPr id="20" name="Text Placeholder 6">
            <a:extLst>
              <a:ext uri="{FF2B5EF4-FFF2-40B4-BE49-F238E27FC236}">
                <a16:creationId xmlns:a16="http://schemas.microsoft.com/office/drawing/2014/main" id="{19840545-52C7-89D0-AD34-B33B77969D0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76739" y="2930785"/>
            <a:ext cx="2719200" cy="492443"/>
          </a:xfrm>
          <a:prstGeom prst="rect">
            <a:avLst/>
          </a:prstGeom>
        </p:spPr>
        <p:txBody>
          <a:bodyPr wrap="square" lIns="0" tIns="0" rIns="0" bIns="0" anchor="b"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buNone/>
              <a:defRPr sz="1600" b="1" cap="all" baseline="0">
                <a:gradFill>
                  <a:gsLst>
                    <a:gs pos="0">
                      <a:schemeClr val="accent5"/>
                    </a:gs>
                    <a:gs pos="100000">
                      <a:schemeClr val="accent6"/>
                    </a:gs>
                  </a:gsLst>
                  <a:lin ang="0" scaled="1"/>
                </a:gradFill>
              </a:defRPr>
            </a:lvl1pPr>
          </a:lstStyle>
          <a:p>
            <a:pPr lvl="0"/>
            <a:r>
              <a:rPr lang="en-GB" noProof="0" dirty="0"/>
              <a:t>THIS IS THE TITLE </a:t>
            </a:r>
            <a:br>
              <a:rPr lang="en-GB" noProof="0" dirty="0"/>
            </a:br>
            <a:r>
              <a:rPr lang="en-GB" noProof="0" dirty="0"/>
              <a:t>OF A PARAGRAPH</a:t>
            </a:r>
          </a:p>
        </p:txBody>
      </p:sp>
      <p:sp>
        <p:nvSpPr>
          <p:cNvPr id="21" name="Text Placeholder 6">
            <a:extLst>
              <a:ext uri="{FF2B5EF4-FFF2-40B4-BE49-F238E27FC236}">
                <a16:creationId xmlns:a16="http://schemas.microsoft.com/office/drawing/2014/main" id="{1946BAE2-2C07-282C-33CC-B53DFC879BA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76739" y="3570573"/>
            <a:ext cx="2719200" cy="1684800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667"/>
              </a:spcAft>
              <a:buFont typeface="Arial" panose="020B0604020202020204" pitchFamily="34" charset="0"/>
              <a:buNone/>
              <a:defRPr sz="1333" b="0" spc="-27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noProof="0" dirty="0"/>
              <a:t>Insert text</a:t>
            </a:r>
          </a:p>
        </p:txBody>
      </p:sp>
      <p:sp>
        <p:nvSpPr>
          <p:cNvPr id="24" name="Text Placeholder 6">
            <a:extLst>
              <a:ext uri="{FF2B5EF4-FFF2-40B4-BE49-F238E27FC236}">
                <a16:creationId xmlns:a16="http://schemas.microsoft.com/office/drawing/2014/main" id="{C7703B1F-D10E-2958-A9FA-7F67E68A45D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736400" y="2930785"/>
            <a:ext cx="2719200" cy="492443"/>
          </a:xfrm>
          <a:prstGeom prst="rect">
            <a:avLst/>
          </a:prstGeom>
        </p:spPr>
        <p:txBody>
          <a:bodyPr wrap="square" lIns="0" tIns="0" rIns="0" bIns="0" anchor="b"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buNone/>
              <a:defRPr sz="1600" b="1" cap="all" baseline="0">
                <a:gradFill>
                  <a:gsLst>
                    <a:gs pos="0">
                      <a:schemeClr val="accent5"/>
                    </a:gs>
                    <a:gs pos="100000">
                      <a:schemeClr val="accent6"/>
                    </a:gs>
                  </a:gsLst>
                  <a:lin ang="0" scaled="1"/>
                </a:gradFill>
              </a:defRPr>
            </a:lvl1pPr>
          </a:lstStyle>
          <a:p>
            <a:pPr lvl="0"/>
            <a:r>
              <a:rPr lang="en-GB" noProof="0" dirty="0"/>
              <a:t>THIS IS THE TITLE </a:t>
            </a:r>
            <a:br>
              <a:rPr lang="en-GB" noProof="0" dirty="0"/>
            </a:br>
            <a:r>
              <a:rPr lang="en-GB" noProof="0" dirty="0"/>
              <a:t>OF A PARAGRAPH</a:t>
            </a:r>
          </a:p>
        </p:txBody>
      </p:sp>
      <p:sp>
        <p:nvSpPr>
          <p:cNvPr id="25" name="Text Placeholder 6">
            <a:extLst>
              <a:ext uri="{FF2B5EF4-FFF2-40B4-BE49-F238E27FC236}">
                <a16:creationId xmlns:a16="http://schemas.microsoft.com/office/drawing/2014/main" id="{FD223A60-2E27-E67E-37C5-8641E5D9B57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736400" y="3570573"/>
            <a:ext cx="2719200" cy="1684800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667"/>
              </a:spcAft>
              <a:buFont typeface="Arial" panose="020B0604020202020204" pitchFamily="34" charset="0"/>
              <a:buNone/>
              <a:defRPr sz="1333" b="0" spc="-27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noProof="0" dirty="0"/>
              <a:t>Insert text</a:t>
            </a:r>
          </a:p>
        </p:txBody>
      </p:sp>
      <p:sp>
        <p:nvSpPr>
          <p:cNvPr id="26" name="Text Placeholder 6">
            <a:extLst>
              <a:ext uri="{FF2B5EF4-FFF2-40B4-BE49-F238E27FC236}">
                <a16:creationId xmlns:a16="http://schemas.microsoft.com/office/drawing/2014/main" id="{4605F178-9679-56F8-328D-82D2019D465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518400" y="2930785"/>
            <a:ext cx="2719200" cy="492443"/>
          </a:xfrm>
          <a:prstGeom prst="rect">
            <a:avLst/>
          </a:prstGeom>
        </p:spPr>
        <p:txBody>
          <a:bodyPr wrap="square" lIns="0" tIns="0" rIns="0" bIns="0" anchor="b"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buNone/>
              <a:defRPr sz="1600" b="1" cap="all" baseline="0">
                <a:gradFill>
                  <a:gsLst>
                    <a:gs pos="0">
                      <a:schemeClr val="accent5"/>
                    </a:gs>
                    <a:gs pos="100000">
                      <a:schemeClr val="accent6"/>
                    </a:gs>
                  </a:gsLst>
                  <a:lin ang="0" scaled="1"/>
                </a:gradFill>
              </a:defRPr>
            </a:lvl1pPr>
          </a:lstStyle>
          <a:p>
            <a:pPr lvl="0"/>
            <a:r>
              <a:rPr lang="en-GB" noProof="0" dirty="0"/>
              <a:t>THIS IS THE TITLE </a:t>
            </a:r>
            <a:br>
              <a:rPr lang="en-GB" noProof="0" dirty="0"/>
            </a:br>
            <a:r>
              <a:rPr lang="en-GB" noProof="0" dirty="0"/>
              <a:t>OF A PARAGRAPH</a:t>
            </a:r>
          </a:p>
        </p:txBody>
      </p:sp>
      <p:sp>
        <p:nvSpPr>
          <p:cNvPr id="27" name="Text Placeholder 6">
            <a:extLst>
              <a:ext uri="{FF2B5EF4-FFF2-40B4-BE49-F238E27FC236}">
                <a16:creationId xmlns:a16="http://schemas.microsoft.com/office/drawing/2014/main" id="{50711CE2-DE07-E8B9-2CB8-32E21E30CAF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518400" y="3570573"/>
            <a:ext cx="2719200" cy="1684800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667"/>
              </a:spcAft>
              <a:buFont typeface="Arial" panose="020B0604020202020204" pitchFamily="34" charset="0"/>
              <a:buNone/>
              <a:defRPr sz="1333" b="0" spc="-27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noProof="0" dirty="0"/>
              <a:t>Insert text</a:t>
            </a:r>
          </a:p>
        </p:txBody>
      </p:sp>
      <p:sp>
        <p:nvSpPr>
          <p:cNvPr id="30" name="Picture Placeholder 10">
            <a:extLst>
              <a:ext uri="{FF2B5EF4-FFF2-40B4-BE49-F238E27FC236}">
                <a16:creationId xmlns:a16="http://schemas.microsoft.com/office/drawing/2014/main" id="{89BED8EB-4709-C779-81CF-1511036ED053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1852339" y="1854740"/>
            <a:ext cx="768000" cy="768000"/>
          </a:xfrm>
          <a:prstGeom prst="rect">
            <a:avLst/>
          </a:prstGeom>
          <a:noFill/>
        </p:spPr>
        <p:txBody>
          <a:bodyPr wrap="square" anchor="ctr">
            <a:noAutofit/>
          </a:bodyPr>
          <a:lstStyle>
            <a:lvl1pPr marL="0" indent="0" algn="ctr" rtl="0">
              <a:buNone/>
              <a:defRPr sz="1333">
                <a:solidFill>
                  <a:schemeClr val="accent1"/>
                </a:solidFill>
              </a:defRPr>
            </a:lvl1pPr>
          </a:lstStyle>
          <a:p>
            <a:r>
              <a:rPr lang="en-GB" noProof="0" dirty="0"/>
              <a:t>Insert icon</a:t>
            </a:r>
          </a:p>
        </p:txBody>
      </p:sp>
      <p:sp>
        <p:nvSpPr>
          <p:cNvPr id="32" name="Picture Placeholder 10">
            <a:extLst>
              <a:ext uri="{FF2B5EF4-FFF2-40B4-BE49-F238E27FC236}">
                <a16:creationId xmlns:a16="http://schemas.microsoft.com/office/drawing/2014/main" id="{105C354A-A8A6-64CB-0D92-3C7A1286DA5B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5712000" y="1854740"/>
            <a:ext cx="768000" cy="768000"/>
          </a:xfrm>
          <a:prstGeom prst="rect">
            <a:avLst/>
          </a:prstGeom>
          <a:noFill/>
        </p:spPr>
        <p:txBody>
          <a:bodyPr wrap="square" anchor="ctr">
            <a:noAutofit/>
          </a:bodyPr>
          <a:lstStyle>
            <a:lvl1pPr marL="0" indent="0" algn="ctr" rtl="0">
              <a:buNone/>
              <a:defRPr sz="1333">
                <a:solidFill>
                  <a:schemeClr val="accent1"/>
                </a:solidFill>
              </a:defRPr>
            </a:lvl1pPr>
          </a:lstStyle>
          <a:p>
            <a:r>
              <a:rPr lang="en-GB" noProof="0" dirty="0"/>
              <a:t>Insert icon</a:t>
            </a:r>
          </a:p>
        </p:txBody>
      </p:sp>
      <p:sp>
        <p:nvSpPr>
          <p:cNvPr id="33" name="Picture Placeholder 10">
            <a:extLst>
              <a:ext uri="{FF2B5EF4-FFF2-40B4-BE49-F238E27FC236}">
                <a16:creationId xmlns:a16="http://schemas.microsoft.com/office/drawing/2014/main" id="{04DDFC12-7224-5450-7C31-F4FE37DF1EC3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9494000" y="1854740"/>
            <a:ext cx="768000" cy="768000"/>
          </a:xfrm>
          <a:prstGeom prst="rect">
            <a:avLst/>
          </a:prstGeom>
          <a:noFill/>
        </p:spPr>
        <p:txBody>
          <a:bodyPr wrap="square" anchor="ctr">
            <a:noAutofit/>
          </a:bodyPr>
          <a:lstStyle>
            <a:lvl1pPr marL="0" indent="0" algn="ctr" rtl="0">
              <a:buNone/>
              <a:defRPr sz="1333">
                <a:solidFill>
                  <a:schemeClr val="accent1"/>
                </a:solidFill>
              </a:defRPr>
            </a:lvl1pPr>
          </a:lstStyle>
          <a:p>
            <a:r>
              <a:rPr lang="en-GB" noProof="0" dirty="0"/>
              <a:t>Insert icon</a:t>
            </a:r>
          </a:p>
        </p:txBody>
      </p:sp>
      <p:pic>
        <p:nvPicPr>
          <p:cNvPr id="13" name="Graphic 2">
            <a:extLst>
              <a:ext uri="{FF2B5EF4-FFF2-40B4-BE49-F238E27FC236}">
                <a16:creationId xmlns:a16="http://schemas.microsoft.com/office/drawing/2014/main" id="{A0754D9C-1BB1-0BAF-BD94-98A6270B0270}"/>
              </a:ext>
            </a:extLst>
          </p:cNvPr>
          <p:cNvPicPr>
            <a:picLocks noChangeAspect="1"/>
          </p:cNvPicPr>
          <p:nvPr userDrawn="1"/>
        </p:nvPicPr>
        <p:blipFill>
          <a:blip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66423" y="6258027"/>
            <a:ext cx="779032" cy="325227"/>
          </a:xfrm>
          <a:prstGeom prst="rect">
            <a:avLst/>
          </a:prstGeom>
        </p:spPr>
      </p:pic>
      <p:sp>
        <p:nvSpPr>
          <p:cNvPr id="14" name="Footer Placeholder 4">
            <a:extLst>
              <a:ext uri="{FF2B5EF4-FFF2-40B4-BE49-F238E27FC236}">
                <a16:creationId xmlns:a16="http://schemas.microsoft.com/office/drawing/2014/main" id="{1CDC7785-0197-8E63-6544-22188FCCF4F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41629" y="6439624"/>
            <a:ext cx="4114800" cy="143629"/>
          </a:xfrm>
          <a:prstGeom prst="rect">
            <a:avLst/>
          </a:prstGeom>
        </p:spPr>
        <p:txBody>
          <a:bodyPr vert="horz" lIns="0" tIns="0" rIns="0" bIns="0" rtlCol="0" anchor="b">
            <a:spAutoFit/>
          </a:bodyPr>
          <a:lstStyle>
            <a:lvl1pPr algn="ctr" rtl="0">
              <a:defRPr sz="933">
                <a:solidFill>
                  <a:schemeClr val="accent1"/>
                </a:solidFill>
              </a:defRPr>
            </a:lvl1pPr>
          </a:lstStyle>
          <a:p>
            <a:r>
              <a:rPr lang="en-GB"/>
              <a:t>THIS IS THE NAME OF THE PRESENTATION</a:t>
            </a:r>
            <a:endParaRPr lang="en-GB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5019EEF2-C42C-CB30-7124-A01465BE85E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6656" y="578625"/>
            <a:ext cx="10876800" cy="410369"/>
          </a:xfrm>
          <a:prstGeom prst="rect">
            <a:avLst/>
          </a:prstGeom>
        </p:spPr>
        <p:txBody>
          <a:bodyPr vert="horz" lIns="0" tIns="0" rIns="0" bIns="0" anchor="t">
            <a:noAutofit/>
          </a:bodyPr>
          <a:lstStyle>
            <a:lvl1pPr rtl="0">
              <a:lnSpc>
                <a:spcPct val="100000"/>
              </a:lnSpc>
              <a:defRPr sz="2667" b="1" cap="all" spc="53" baseline="0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GB" noProof="0" dirty="0"/>
              <a:t>THIS IS THE SLIDE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EE37F2A-E381-87F4-5D4C-0D8603F9947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58084" y="6434426"/>
            <a:ext cx="315017" cy="143629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 rtl="0">
              <a:defRPr sz="933">
                <a:solidFill>
                  <a:schemeClr val="accent1"/>
                </a:solidFill>
              </a:defRPr>
            </a:lvl1pPr>
          </a:lstStyle>
          <a:p>
            <a:fld id="{809B0AF7-3924-4693-AD32-8215A0397987}" type="slidenum">
              <a:rPr lang="en-GB" smtClean="0"/>
              <a:pPr/>
              <a:t>‹#›</a:t>
            </a:fld>
            <a:endParaRPr lang="en-GB" dirty="0"/>
          </a:p>
        </p:txBody>
      </p:sp>
      <p:grpSp>
        <p:nvGrpSpPr>
          <p:cNvPr id="12" name="Graphique 10">
            <a:extLst>
              <a:ext uri="{FF2B5EF4-FFF2-40B4-BE49-F238E27FC236}">
                <a16:creationId xmlns:a16="http://schemas.microsoft.com/office/drawing/2014/main" id="{69BEEEB2-8B99-1ED1-362F-118453DDFDFD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669355" y="1020625"/>
            <a:ext cx="801047" cy="120000"/>
            <a:chOff x="3638550" y="2432050"/>
            <a:chExt cx="1862613" cy="279027"/>
          </a:xfrm>
          <a:gradFill flip="none" rotWithShape="1">
            <a:gsLst>
              <a:gs pos="0">
                <a:schemeClr val="accent5"/>
              </a:gs>
              <a:gs pos="100000">
                <a:schemeClr val="accent6"/>
              </a:gs>
            </a:gsLst>
            <a:lin ang="0" scaled="1"/>
            <a:tileRect/>
          </a:gradFill>
        </p:grpSpPr>
        <p:sp>
          <p:nvSpPr>
            <p:cNvPr id="34" name="Forme libre 33">
              <a:extLst>
                <a:ext uri="{FF2B5EF4-FFF2-40B4-BE49-F238E27FC236}">
                  <a16:creationId xmlns:a16="http://schemas.microsoft.com/office/drawing/2014/main" id="{F61F91FE-4217-E0CC-0F46-73B2A81A529F}"/>
                </a:ext>
              </a:extLst>
            </p:cNvPr>
            <p:cNvSpPr/>
            <p:nvPr/>
          </p:nvSpPr>
          <p:spPr>
            <a:xfrm>
              <a:off x="3638550" y="2436520"/>
              <a:ext cx="68198" cy="270086"/>
            </a:xfrm>
            <a:custGeom>
              <a:avLst/>
              <a:gdLst>
                <a:gd name="connsiteX0" fmla="*/ 68199 w 68198"/>
                <a:gd name="connsiteY0" fmla="*/ 270087 h 270086"/>
                <a:gd name="connsiteX1" fmla="*/ 0 w 68198"/>
                <a:gd name="connsiteY1" fmla="*/ 270087 h 270086"/>
                <a:gd name="connsiteX2" fmla="*/ 0 w 68198"/>
                <a:gd name="connsiteY2" fmla="*/ 0 h 270086"/>
                <a:gd name="connsiteX3" fmla="*/ 68199 w 68198"/>
                <a:gd name="connsiteY3" fmla="*/ 0 h 270086"/>
                <a:gd name="connsiteX4" fmla="*/ 68199 w 68198"/>
                <a:gd name="connsiteY4" fmla="*/ 270087 h 270086"/>
                <a:gd name="connsiteX5" fmla="*/ 9525 w 68198"/>
                <a:gd name="connsiteY5" fmla="*/ 260773 h 270086"/>
                <a:gd name="connsiteX6" fmla="*/ 58674 w 68198"/>
                <a:gd name="connsiteY6" fmla="*/ 260773 h 270086"/>
                <a:gd name="connsiteX7" fmla="*/ 58674 w 68198"/>
                <a:gd name="connsiteY7" fmla="*/ 9313 h 270086"/>
                <a:gd name="connsiteX8" fmla="*/ 9525 w 68198"/>
                <a:gd name="connsiteY8" fmla="*/ 9313 h 270086"/>
                <a:gd name="connsiteX9" fmla="*/ 9525 w 68198"/>
                <a:gd name="connsiteY9" fmla="*/ 260773 h 2700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68198" h="270086">
                  <a:moveTo>
                    <a:pt x="68199" y="270087"/>
                  </a:moveTo>
                  <a:lnTo>
                    <a:pt x="0" y="270087"/>
                  </a:lnTo>
                  <a:lnTo>
                    <a:pt x="0" y="0"/>
                  </a:lnTo>
                  <a:lnTo>
                    <a:pt x="68199" y="0"/>
                  </a:lnTo>
                  <a:lnTo>
                    <a:pt x="68199" y="270087"/>
                  </a:lnTo>
                  <a:close/>
                  <a:moveTo>
                    <a:pt x="9525" y="260773"/>
                  </a:moveTo>
                  <a:lnTo>
                    <a:pt x="58674" y="260773"/>
                  </a:lnTo>
                  <a:lnTo>
                    <a:pt x="58674" y="9313"/>
                  </a:lnTo>
                  <a:lnTo>
                    <a:pt x="9525" y="9313"/>
                  </a:lnTo>
                  <a:lnTo>
                    <a:pt x="9525" y="260773"/>
                  </a:lnTo>
                  <a:close/>
                </a:path>
              </a:pathLst>
            </a:cu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2400"/>
            </a:p>
          </p:txBody>
        </p:sp>
        <p:sp>
          <p:nvSpPr>
            <p:cNvPr id="35" name="Forme libre 34">
              <a:extLst>
                <a:ext uri="{FF2B5EF4-FFF2-40B4-BE49-F238E27FC236}">
                  <a16:creationId xmlns:a16="http://schemas.microsoft.com/office/drawing/2014/main" id="{ADE322AA-C71C-8F91-08E9-071568370E79}"/>
                </a:ext>
              </a:extLst>
            </p:cNvPr>
            <p:cNvSpPr/>
            <p:nvPr/>
          </p:nvSpPr>
          <p:spPr>
            <a:xfrm>
              <a:off x="3752088" y="2432050"/>
              <a:ext cx="292989" cy="279027"/>
            </a:xfrm>
            <a:custGeom>
              <a:avLst/>
              <a:gdLst>
                <a:gd name="connsiteX0" fmla="*/ 146114 w 292989"/>
                <a:gd name="connsiteY0" fmla="*/ 279027 h 279027"/>
                <a:gd name="connsiteX1" fmla="*/ 0 w 292989"/>
                <a:gd name="connsiteY1" fmla="*/ 140259 h 279027"/>
                <a:gd name="connsiteX2" fmla="*/ 0 w 292989"/>
                <a:gd name="connsiteY2" fmla="*/ 139514 h 279027"/>
                <a:gd name="connsiteX3" fmla="*/ 146876 w 292989"/>
                <a:gd name="connsiteY3" fmla="*/ 0 h 279027"/>
                <a:gd name="connsiteX4" fmla="*/ 292989 w 292989"/>
                <a:gd name="connsiteY4" fmla="*/ 138769 h 279027"/>
                <a:gd name="connsiteX5" fmla="*/ 146114 w 292989"/>
                <a:gd name="connsiteY5" fmla="*/ 279027 h 279027"/>
                <a:gd name="connsiteX6" fmla="*/ 146876 w 292989"/>
                <a:gd name="connsiteY6" fmla="*/ 9313 h 279027"/>
                <a:gd name="connsiteX7" fmla="*/ 9525 w 292989"/>
                <a:gd name="connsiteY7" fmla="*/ 139514 h 279027"/>
                <a:gd name="connsiteX8" fmla="*/ 9525 w 292989"/>
                <a:gd name="connsiteY8" fmla="*/ 140259 h 279027"/>
                <a:gd name="connsiteX9" fmla="*/ 146114 w 292989"/>
                <a:gd name="connsiteY9" fmla="*/ 269714 h 279027"/>
                <a:gd name="connsiteX10" fmla="*/ 283464 w 292989"/>
                <a:gd name="connsiteY10" fmla="*/ 139514 h 279027"/>
                <a:gd name="connsiteX11" fmla="*/ 146876 w 292989"/>
                <a:gd name="connsiteY11" fmla="*/ 9313 h 279027"/>
                <a:gd name="connsiteX12" fmla="*/ 146876 w 292989"/>
                <a:gd name="connsiteY12" fmla="*/ 226128 h 279027"/>
                <a:gd name="connsiteX13" fmla="*/ 61341 w 292989"/>
                <a:gd name="connsiteY13" fmla="*/ 139514 h 279027"/>
                <a:gd name="connsiteX14" fmla="*/ 146114 w 292989"/>
                <a:gd name="connsiteY14" fmla="*/ 52900 h 279027"/>
                <a:gd name="connsiteX15" fmla="*/ 231648 w 292989"/>
                <a:gd name="connsiteY15" fmla="*/ 139514 h 279027"/>
                <a:gd name="connsiteX16" fmla="*/ 231648 w 292989"/>
                <a:gd name="connsiteY16" fmla="*/ 140259 h 279027"/>
                <a:gd name="connsiteX17" fmla="*/ 146876 w 292989"/>
                <a:gd name="connsiteY17" fmla="*/ 226128 h 279027"/>
                <a:gd name="connsiteX18" fmla="*/ 146114 w 292989"/>
                <a:gd name="connsiteY18" fmla="*/ 62213 h 279027"/>
                <a:gd name="connsiteX19" fmla="*/ 70866 w 292989"/>
                <a:gd name="connsiteY19" fmla="*/ 138769 h 279027"/>
                <a:gd name="connsiteX20" fmla="*/ 146876 w 292989"/>
                <a:gd name="connsiteY20" fmla="*/ 216814 h 279027"/>
                <a:gd name="connsiteX21" fmla="*/ 222123 w 292989"/>
                <a:gd name="connsiteY21" fmla="*/ 140259 h 279027"/>
                <a:gd name="connsiteX22" fmla="*/ 222123 w 292989"/>
                <a:gd name="connsiteY22" fmla="*/ 139514 h 279027"/>
                <a:gd name="connsiteX23" fmla="*/ 146114 w 292989"/>
                <a:gd name="connsiteY23" fmla="*/ 62213 h 2790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292989" h="279027">
                  <a:moveTo>
                    <a:pt x="146114" y="279027"/>
                  </a:moveTo>
                  <a:cubicBezTo>
                    <a:pt x="62865" y="279027"/>
                    <a:pt x="0" y="219422"/>
                    <a:pt x="0" y="140259"/>
                  </a:cubicBezTo>
                  <a:lnTo>
                    <a:pt x="0" y="139514"/>
                  </a:lnTo>
                  <a:cubicBezTo>
                    <a:pt x="0" y="61282"/>
                    <a:pt x="64484" y="0"/>
                    <a:pt x="146876" y="0"/>
                  </a:cubicBezTo>
                  <a:cubicBezTo>
                    <a:pt x="229267" y="0"/>
                    <a:pt x="292989" y="59605"/>
                    <a:pt x="292989" y="138769"/>
                  </a:cubicBezTo>
                  <a:cubicBezTo>
                    <a:pt x="292989" y="217932"/>
                    <a:pt x="228505" y="279027"/>
                    <a:pt x="146114" y="279027"/>
                  </a:cubicBezTo>
                  <a:close/>
                  <a:moveTo>
                    <a:pt x="146876" y="9313"/>
                  </a:moveTo>
                  <a:cubicBezTo>
                    <a:pt x="69914" y="9313"/>
                    <a:pt x="9525" y="66497"/>
                    <a:pt x="9525" y="139514"/>
                  </a:cubicBezTo>
                  <a:lnTo>
                    <a:pt x="9525" y="140259"/>
                  </a:lnTo>
                  <a:cubicBezTo>
                    <a:pt x="9525" y="214020"/>
                    <a:pt x="68199" y="269714"/>
                    <a:pt x="146114" y="269714"/>
                  </a:cubicBezTo>
                  <a:cubicBezTo>
                    <a:pt x="224028" y="269714"/>
                    <a:pt x="283464" y="212530"/>
                    <a:pt x="283464" y="139514"/>
                  </a:cubicBezTo>
                  <a:cubicBezTo>
                    <a:pt x="283464" y="66497"/>
                    <a:pt x="224695" y="9313"/>
                    <a:pt x="146876" y="9313"/>
                  </a:cubicBezTo>
                  <a:close/>
                  <a:moveTo>
                    <a:pt x="146876" y="226128"/>
                  </a:moveTo>
                  <a:cubicBezTo>
                    <a:pt x="98869" y="226128"/>
                    <a:pt x="61341" y="188129"/>
                    <a:pt x="61341" y="139514"/>
                  </a:cubicBezTo>
                  <a:cubicBezTo>
                    <a:pt x="61341" y="90898"/>
                    <a:pt x="97822" y="52900"/>
                    <a:pt x="146114" y="52900"/>
                  </a:cubicBezTo>
                  <a:cubicBezTo>
                    <a:pt x="194405" y="52900"/>
                    <a:pt x="231648" y="90898"/>
                    <a:pt x="231648" y="139514"/>
                  </a:cubicBezTo>
                  <a:lnTo>
                    <a:pt x="231648" y="140259"/>
                  </a:lnTo>
                  <a:cubicBezTo>
                    <a:pt x="231648" y="189247"/>
                    <a:pt x="195167" y="226128"/>
                    <a:pt x="146876" y="226128"/>
                  </a:cubicBezTo>
                  <a:close/>
                  <a:moveTo>
                    <a:pt x="146114" y="62213"/>
                  </a:moveTo>
                  <a:cubicBezTo>
                    <a:pt x="103251" y="62213"/>
                    <a:pt x="70866" y="95089"/>
                    <a:pt x="70866" y="138769"/>
                  </a:cubicBezTo>
                  <a:cubicBezTo>
                    <a:pt x="70866" y="182448"/>
                    <a:pt x="103537" y="216814"/>
                    <a:pt x="146876" y="216814"/>
                  </a:cubicBezTo>
                  <a:cubicBezTo>
                    <a:pt x="190214" y="216814"/>
                    <a:pt x="222123" y="183938"/>
                    <a:pt x="222123" y="140259"/>
                  </a:cubicBezTo>
                  <a:lnTo>
                    <a:pt x="222123" y="139514"/>
                  </a:lnTo>
                  <a:cubicBezTo>
                    <a:pt x="222123" y="95462"/>
                    <a:pt x="189452" y="62213"/>
                    <a:pt x="146114" y="62213"/>
                  </a:cubicBezTo>
                  <a:close/>
                </a:path>
              </a:pathLst>
            </a:cu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2400"/>
            </a:p>
          </p:txBody>
        </p:sp>
        <p:sp>
          <p:nvSpPr>
            <p:cNvPr id="36" name="Forme libre 35">
              <a:extLst>
                <a:ext uri="{FF2B5EF4-FFF2-40B4-BE49-F238E27FC236}">
                  <a16:creationId xmlns:a16="http://schemas.microsoft.com/office/drawing/2014/main" id="{C04F3D0F-9BAD-51B1-DA08-1D23270E1F25}"/>
                </a:ext>
              </a:extLst>
            </p:cNvPr>
            <p:cNvSpPr/>
            <p:nvPr/>
          </p:nvSpPr>
          <p:spPr>
            <a:xfrm>
              <a:off x="4075937" y="2432050"/>
              <a:ext cx="292989" cy="279027"/>
            </a:xfrm>
            <a:custGeom>
              <a:avLst/>
              <a:gdLst>
                <a:gd name="connsiteX0" fmla="*/ 146114 w 292989"/>
                <a:gd name="connsiteY0" fmla="*/ 279027 h 279027"/>
                <a:gd name="connsiteX1" fmla="*/ 0 w 292989"/>
                <a:gd name="connsiteY1" fmla="*/ 140259 h 279027"/>
                <a:gd name="connsiteX2" fmla="*/ 0 w 292989"/>
                <a:gd name="connsiteY2" fmla="*/ 139514 h 279027"/>
                <a:gd name="connsiteX3" fmla="*/ 146876 w 292989"/>
                <a:gd name="connsiteY3" fmla="*/ 0 h 279027"/>
                <a:gd name="connsiteX4" fmla="*/ 292989 w 292989"/>
                <a:gd name="connsiteY4" fmla="*/ 138769 h 279027"/>
                <a:gd name="connsiteX5" fmla="*/ 146114 w 292989"/>
                <a:gd name="connsiteY5" fmla="*/ 279027 h 279027"/>
                <a:gd name="connsiteX6" fmla="*/ 146876 w 292989"/>
                <a:gd name="connsiteY6" fmla="*/ 9313 h 279027"/>
                <a:gd name="connsiteX7" fmla="*/ 9525 w 292989"/>
                <a:gd name="connsiteY7" fmla="*/ 139514 h 279027"/>
                <a:gd name="connsiteX8" fmla="*/ 9525 w 292989"/>
                <a:gd name="connsiteY8" fmla="*/ 140259 h 279027"/>
                <a:gd name="connsiteX9" fmla="*/ 146114 w 292989"/>
                <a:gd name="connsiteY9" fmla="*/ 269714 h 279027"/>
                <a:gd name="connsiteX10" fmla="*/ 283464 w 292989"/>
                <a:gd name="connsiteY10" fmla="*/ 139514 h 279027"/>
                <a:gd name="connsiteX11" fmla="*/ 146876 w 292989"/>
                <a:gd name="connsiteY11" fmla="*/ 9313 h 279027"/>
                <a:gd name="connsiteX12" fmla="*/ 146876 w 292989"/>
                <a:gd name="connsiteY12" fmla="*/ 226128 h 279027"/>
                <a:gd name="connsiteX13" fmla="*/ 61341 w 292989"/>
                <a:gd name="connsiteY13" fmla="*/ 139514 h 279027"/>
                <a:gd name="connsiteX14" fmla="*/ 146114 w 292989"/>
                <a:gd name="connsiteY14" fmla="*/ 52900 h 279027"/>
                <a:gd name="connsiteX15" fmla="*/ 231648 w 292989"/>
                <a:gd name="connsiteY15" fmla="*/ 139514 h 279027"/>
                <a:gd name="connsiteX16" fmla="*/ 231648 w 292989"/>
                <a:gd name="connsiteY16" fmla="*/ 140259 h 279027"/>
                <a:gd name="connsiteX17" fmla="*/ 146876 w 292989"/>
                <a:gd name="connsiteY17" fmla="*/ 226128 h 279027"/>
                <a:gd name="connsiteX18" fmla="*/ 146114 w 292989"/>
                <a:gd name="connsiteY18" fmla="*/ 62213 h 279027"/>
                <a:gd name="connsiteX19" fmla="*/ 70866 w 292989"/>
                <a:gd name="connsiteY19" fmla="*/ 138769 h 279027"/>
                <a:gd name="connsiteX20" fmla="*/ 146876 w 292989"/>
                <a:gd name="connsiteY20" fmla="*/ 216814 h 279027"/>
                <a:gd name="connsiteX21" fmla="*/ 222123 w 292989"/>
                <a:gd name="connsiteY21" fmla="*/ 140259 h 279027"/>
                <a:gd name="connsiteX22" fmla="*/ 222123 w 292989"/>
                <a:gd name="connsiteY22" fmla="*/ 139514 h 279027"/>
                <a:gd name="connsiteX23" fmla="*/ 146114 w 292989"/>
                <a:gd name="connsiteY23" fmla="*/ 62213 h 2790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292989" h="279027">
                  <a:moveTo>
                    <a:pt x="146114" y="279027"/>
                  </a:moveTo>
                  <a:cubicBezTo>
                    <a:pt x="62865" y="279027"/>
                    <a:pt x="0" y="219422"/>
                    <a:pt x="0" y="140259"/>
                  </a:cubicBezTo>
                  <a:lnTo>
                    <a:pt x="0" y="139514"/>
                  </a:lnTo>
                  <a:cubicBezTo>
                    <a:pt x="0" y="61282"/>
                    <a:pt x="64484" y="0"/>
                    <a:pt x="146876" y="0"/>
                  </a:cubicBezTo>
                  <a:cubicBezTo>
                    <a:pt x="229267" y="0"/>
                    <a:pt x="292989" y="59605"/>
                    <a:pt x="292989" y="138769"/>
                  </a:cubicBezTo>
                  <a:cubicBezTo>
                    <a:pt x="292989" y="217932"/>
                    <a:pt x="228505" y="279027"/>
                    <a:pt x="146114" y="279027"/>
                  </a:cubicBezTo>
                  <a:close/>
                  <a:moveTo>
                    <a:pt x="146876" y="9313"/>
                  </a:moveTo>
                  <a:cubicBezTo>
                    <a:pt x="69914" y="9313"/>
                    <a:pt x="9525" y="66497"/>
                    <a:pt x="9525" y="139514"/>
                  </a:cubicBezTo>
                  <a:lnTo>
                    <a:pt x="9525" y="140259"/>
                  </a:lnTo>
                  <a:cubicBezTo>
                    <a:pt x="9525" y="214020"/>
                    <a:pt x="68199" y="269714"/>
                    <a:pt x="146114" y="269714"/>
                  </a:cubicBezTo>
                  <a:cubicBezTo>
                    <a:pt x="224028" y="269714"/>
                    <a:pt x="283464" y="212530"/>
                    <a:pt x="283464" y="139514"/>
                  </a:cubicBezTo>
                  <a:cubicBezTo>
                    <a:pt x="283464" y="66497"/>
                    <a:pt x="224790" y="9313"/>
                    <a:pt x="146876" y="9313"/>
                  </a:cubicBezTo>
                  <a:close/>
                  <a:moveTo>
                    <a:pt x="146876" y="226128"/>
                  </a:moveTo>
                  <a:cubicBezTo>
                    <a:pt x="98870" y="226128"/>
                    <a:pt x="61341" y="188129"/>
                    <a:pt x="61341" y="139514"/>
                  </a:cubicBezTo>
                  <a:cubicBezTo>
                    <a:pt x="61341" y="90898"/>
                    <a:pt x="97822" y="52900"/>
                    <a:pt x="146114" y="52900"/>
                  </a:cubicBezTo>
                  <a:cubicBezTo>
                    <a:pt x="194405" y="52900"/>
                    <a:pt x="231648" y="90898"/>
                    <a:pt x="231648" y="139514"/>
                  </a:cubicBezTo>
                  <a:lnTo>
                    <a:pt x="231648" y="140259"/>
                  </a:lnTo>
                  <a:cubicBezTo>
                    <a:pt x="231648" y="189247"/>
                    <a:pt x="195167" y="226128"/>
                    <a:pt x="146876" y="226128"/>
                  </a:cubicBezTo>
                  <a:close/>
                  <a:moveTo>
                    <a:pt x="146114" y="62213"/>
                  </a:moveTo>
                  <a:cubicBezTo>
                    <a:pt x="103251" y="62213"/>
                    <a:pt x="70866" y="95089"/>
                    <a:pt x="70866" y="138769"/>
                  </a:cubicBezTo>
                  <a:cubicBezTo>
                    <a:pt x="70866" y="182448"/>
                    <a:pt x="103537" y="216814"/>
                    <a:pt x="146876" y="216814"/>
                  </a:cubicBezTo>
                  <a:cubicBezTo>
                    <a:pt x="190214" y="216814"/>
                    <a:pt x="222123" y="183938"/>
                    <a:pt x="222123" y="140259"/>
                  </a:cubicBezTo>
                  <a:lnTo>
                    <a:pt x="222123" y="139514"/>
                  </a:lnTo>
                  <a:cubicBezTo>
                    <a:pt x="222123" y="95462"/>
                    <a:pt x="189452" y="62213"/>
                    <a:pt x="146114" y="62213"/>
                  </a:cubicBezTo>
                  <a:close/>
                </a:path>
              </a:pathLst>
            </a:cu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2400"/>
            </a:p>
          </p:txBody>
        </p:sp>
        <p:sp>
          <p:nvSpPr>
            <p:cNvPr id="37" name="Forme libre 36">
              <a:extLst>
                <a:ext uri="{FF2B5EF4-FFF2-40B4-BE49-F238E27FC236}">
                  <a16:creationId xmlns:a16="http://schemas.microsoft.com/office/drawing/2014/main" id="{49C14913-8815-0A37-1D1E-F35C05DD936C}"/>
                </a:ext>
              </a:extLst>
            </p:cNvPr>
            <p:cNvSpPr/>
            <p:nvPr/>
          </p:nvSpPr>
          <p:spPr>
            <a:xfrm>
              <a:off x="4414266" y="2436520"/>
              <a:ext cx="68198" cy="270086"/>
            </a:xfrm>
            <a:custGeom>
              <a:avLst/>
              <a:gdLst>
                <a:gd name="connsiteX0" fmla="*/ 68199 w 68198"/>
                <a:gd name="connsiteY0" fmla="*/ 270087 h 270086"/>
                <a:gd name="connsiteX1" fmla="*/ 0 w 68198"/>
                <a:gd name="connsiteY1" fmla="*/ 270087 h 270086"/>
                <a:gd name="connsiteX2" fmla="*/ 0 w 68198"/>
                <a:gd name="connsiteY2" fmla="*/ 0 h 270086"/>
                <a:gd name="connsiteX3" fmla="*/ 68199 w 68198"/>
                <a:gd name="connsiteY3" fmla="*/ 0 h 270086"/>
                <a:gd name="connsiteX4" fmla="*/ 68199 w 68198"/>
                <a:gd name="connsiteY4" fmla="*/ 270087 h 270086"/>
                <a:gd name="connsiteX5" fmla="*/ 9525 w 68198"/>
                <a:gd name="connsiteY5" fmla="*/ 260773 h 270086"/>
                <a:gd name="connsiteX6" fmla="*/ 58674 w 68198"/>
                <a:gd name="connsiteY6" fmla="*/ 260773 h 270086"/>
                <a:gd name="connsiteX7" fmla="*/ 58674 w 68198"/>
                <a:gd name="connsiteY7" fmla="*/ 9313 h 270086"/>
                <a:gd name="connsiteX8" fmla="*/ 9525 w 68198"/>
                <a:gd name="connsiteY8" fmla="*/ 9313 h 270086"/>
                <a:gd name="connsiteX9" fmla="*/ 9525 w 68198"/>
                <a:gd name="connsiteY9" fmla="*/ 260773 h 2700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68198" h="270086">
                  <a:moveTo>
                    <a:pt x="68199" y="270087"/>
                  </a:moveTo>
                  <a:lnTo>
                    <a:pt x="0" y="270087"/>
                  </a:lnTo>
                  <a:lnTo>
                    <a:pt x="0" y="0"/>
                  </a:lnTo>
                  <a:lnTo>
                    <a:pt x="68199" y="0"/>
                  </a:lnTo>
                  <a:lnTo>
                    <a:pt x="68199" y="270087"/>
                  </a:lnTo>
                  <a:close/>
                  <a:moveTo>
                    <a:pt x="9525" y="260773"/>
                  </a:moveTo>
                  <a:lnTo>
                    <a:pt x="58674" y="260773"/>
                  </a:lnTo>
                  <a:lnTo>
                    <a:pt x="58674" y="9313"/>
                  </a:lnTo>
                  <a:lnTo>
                    <a:pt x="9525" y="9313"/>
                  </a:lnTo>
                  <a:lnTo>
                    <a:pt x="9525" y="260773"/>
                  </a:lnTo>
                  <a:close/>
                </a:path>
              </a:pathLst>
            </a:cu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2400"/>
            </a:p>
          </p:txBody>
        </p:sp>
        <p:sp>
          <p:nvSpPr>
            <p:cNvPr id="38" name="Forme libre 37">
              <a:extLst>
                <a:ext uri="{FF2B5EF4-FFF2-40B4-BE49-F238E27FC236}">
                  <a16:creationId xmlns:a16="http://schemas.microsoft.com/office/drawing/2014/main" id="{6EDE7F9C-3530-5AB0-C892-811811A02B5A}"/>
                </a:ext>
              </a:extLst>
            </p:cNvPr>
            <p:cNvSpPr/>
            <p:nvPr/>
          </p:nvSpPr>
          <p:spPr>
            <a:xfrm>
              <a:off x="4756404" y="2432050"/>
              <a:ext cx="292988" cy="279027"/>
            </a:xfrm>
            <a:custGeom>
              <a:avLst/>
              <a:gdLst>
                <a:gd name="connsiteX0" fmla="*/ 146113 w 292988"/>
                <a:gd name="connsiteY0" fmla="*/ 279027 h 279027"/>
                <a:gd name="connsiteX1" fmla="*/ 0 w 292988"/>
                <a:gd name="connsiteY1" fmla="*/ 140259 h 279027"/>
                <a:gd name="connsiteX2" fmla="*/ 0 w 292988"/>
                <a:gd name="connsiteY2" fmla="*/ 139514 h 279027"/>
                <a:gd name="connsiteX3" fmla="*/ 146875 w 292988"/>
                <a:gd name="connsiteY3" fmla="*/ 0 h 279027"/>
                <a:gd name="connsiteX4" fmla="*/ 292989 w 292988"/>
                <a:gd name="connsiteY4" fmla="*/ 138769 h 279027"/>
                <a:gd name="connsiteX5" fmla="*/ 146113 w 292988"/>
                <a:gd name="connsiteY5" fmla="*/ 279027 h 279027"/>
                <a:gd name="connsiteX6" fmla="*/ 146875 w 292988"/>
                <a:gd name="connsiteY6" fmla="*/ 9313 h 279027"/>
                <a:gd name="connsiteX7" fmla="*/ 9525 w 292988"/>
                <a:gd name="connsiteY7" fmla="*/ 139514 h 279027"/>
                <a:gd name="connsiteX8" fmla="*/ 9525 w 292988"/>
                <a:gd name="connsiteY8" fmla="*/ 140259 h 279027"/>
                <a:gd name="connsiteX9" fmla="*/ 146113 w 292988"/>
                <a:gd name="connsiteY9" fmla="*/ 269714 h 279027"/>
                <a:gd name="connsiteX10" fmla="*/ 283464 w 292988"/>
                <a:gd name="connsiteY10" fmla="*/ 139514 h 279027"/>
                <a:gd name="connsiteX11" fmla="*/ 146875 w 292988"/>
                <a:gd name="connsiteY11" fmla="*/ 9313 h 279027"/>
                <a:gd name="connsiteX12" fmla="*/ 146875 w 292988"/>
                <a:gd name="connsiteY12" fmla="*/ 226128 h 279027"/>
                <a:gd name="connsiteX13" fmla="*/ 61341 w 292988"/>
                <a:gd name="connsiteY13" fmla="*/ 139514 h 279027"/>
                <a:gd name="connsiteX14" fmla="*/ 146113 w 292988"/>
                <a:gd name="connsiteY14" fmla="*/ 52900 h 279027"/>
                <a:gd name="connsiteX15" fmla="*/ 231648 w 292988"/>
                <a:gd name="connsiteY15" fmla="*/ 139514 h 279027"/>
                <a:gd name="connsiteX16" fmla="*/ 231648 w 292988"/>
                <a:gd name="connsiteY16" fmla="*/ 140259 h 279027"/>
                <a:gd name="connsiteX17" fmla="*/ 146875 w 292988"/>
                <a:gd name="connsiteY17" fmla="*/ 226128 h 279027"/>
                <a:gd name="connsiteX18" fmla="*/ 146113 w 292988"/>
                <a:gd name="connsiteY18" fmla="*/ 62213 h 279027"/>
                <a:gd name="connsiteX19" fmla="*/ 70866 w 292988"/>
                <a:gd name="connsiteY19" fmla="*/ 138769 h 279027"/>
                <a:gd name="connsiteX20" fmla="*/ 146875 w 292988"/>
                <a:gd name="connsiteY20" fmla="*/ 216814 h 279027"/>
                <a:gd name="connsiteX21" fmla="*/ 222123 w 292988"/>
                <a:gd name="connsiteY21" fmla="*/ 140259 h 279027"/>
                <a:gd name="connsiteX22" fmla="*/ 222123 w 292988"/>
                <a:gd name="connsiteY22" fmla="*/ 139514 h 279027"/>
                <a:gd name="connsiteX23" fmla="*/ 146113 w 292988"/>
                <a:gd name="connsiteY23" fmla="*/ 62213 h 2790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292988" h="279027">
                  <a:moveTo>
                    <a:pt x="146113" y="279027"/>
                  </a:moveTo>
                  <a:cubicBezTo>
                    <a:pt x="62865" y="279027"/>
                    <a:pt x="0" y="219422"/>
                    <a:pt x="0" y="140259"/>
                  </a:cubicBezTo>
                  <a:lnTo>
                    <a:pt x="0" y="139514"/>
                  </a:lnTo>
                  <a:cubicBezTo>
                    <a:pt x="0" y="61282"/>
                    <a:pt x="64484" y="0"/>
                    <a:pt x="146875" y="0"/>
                  </a:cubicBezTo>
                  <a:cubicBezTo>
                    <a:pt x="229267" y="0"/>
                    <a:pt x="292989" y="59605"/>
                    <a:pt x="292989" y="138769"/>
                  </a:cubicBezTo>
                  <a:cubicBezTo>
                    <a:pt x="292989" y="217932"/>
                    <a:pt x="228505" y="279027"/>
                    <a:pt x="146113" y="279027"/>
                  </a:cubicBezTo>
                  <a:close/>
                  <a:moveTo>
                    <a:pt x="146875" y="9313"/>
                  </a:moveTo>
                  <a:cubicBezTo>
                    <a:pt x="69913" y="9313"/>
                    <a:pt x="9525" y="66497"/>
                    <a:pt x="9525" y="139514"/>
                  </a:cubicBezTo>
                  <a:lnTo>
                    <a:pt x="9525" y="140259"/>
                  </a:lnTo>
                  <a:cubicBezTo>
                    <a:pt x="9525" y="214020"/>
                    <a:pt x="68199" y="269714"/>
                    <a:pt x="146113" y="269714"/>
                  </a:cubicBezTo>
                  <a:cubicBezTo>
                    <a:pt x="224028" y="269714"/>
                    <a:pt x="283464" y="212530"/>
                    <a:pt x="283464" y="139514"/>
                  </a:cubicBezTo>
                  <a:cubicBezTo>
                    <a:pt x="283464" y="66497"/>
                    <a:pt x="224790" y="9313"/>
                    <a:pt x="146875" y="9313"/>
                  </a:cubicBezTo>
                  <a:close/>
                  <a:moveTo>
                    <a:pt x="146875" y="226128"/>
                  </a:moveTo>
                  <a:cubicBezTo>
                    <a:pt x="98869" y="226128"/>
                    <a:pt x="61341" y="188129"/>
                    <a:pt x="61341" y="139514"/>
                  </a:cubicBezTo>
                  <a:cubicBezTo>
                    <a:pt x="61341" y="90898"/>
                    <a:pt x="97822" y="52900"/>
                    <a:pt x="146113" y="52900"/>
                  </a:cubicBezTo>
                  <a:cubicBezTo>
                    <a:pt x="194405" y="52900"/>
                    <a:pt x="231648" y="90898"/>
                    <a:pt x="231648" y="139514"/>
                  </a:cubicBezTo>
                  <a:lnTo>
                    <a:pt x="231648" y="140259"/>
                  </a:lnTo>
                  <a:cubicBezTo>
                    <a:pt x="231648" y="189247"/>
                    <a:pt x="195167" y="226128"/>
                    <a:pt x="146875" y="226128"/>
                  </a:cubicBezTo>
                  <a:close/>
                  <a:moveTo>
                    <a:pt x="146113" y="62213"/>
                  </a:moveTo>
                  <a:cubicBezTo>
                    <a:pt x="103251" y="62213"/>
                    <a:pt x="70866" y="95089"/>
                    <a:pt x="70866" y="138769"/>
                  </a:cubicBezTo>
                  <a:cubicBezTo>
                    <a:pt x="70866" y="182448"/>
                    <a:pt x="103537" y="216814"/>
                    <a:pt x="146875" y="216814"/>
                  </a:cubicBezTo>
                  <a:cubicBezTo>
                    <a:pt x="190214" y="216814"/>
                    <a:pt x="222123" y="183938"/>
                    <a:pt x="222123" y="140259"/>
                  </a:cubicBezTo>
                  <a:lnTo>
                    <a:pt x="222123" y="139514"/>
                  </a:lnTo>
                  <a:cubicBezTo>
                    <a:pt x="222123" y="95462"/>
                    <a:pt x="189452" y="62213"/>
                    <a:pt x="146113" y="62213"/>
                  </a:cubicBezTo>
                  <a:close/>
                </a:path>
              </a:pathLst>
            </a:cu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2400"/>
            </a:p>
          </p:txBody>
        </p:sp>
        <p:sp>
          <p:nvSpPr>
            <p:cNvPr id="39" name="Forme libre 38">
              <a:extLst>
                <a:ext uri="{FF2B5EF4-FFF2-40B4-BE49-F238E27FC236}">
                  <a16:creationId xmlns:a16="http://schemas.microsoft.com/office/drawing/2014/main" id="{9C5D6EA2-95F9-AC0A-9074-0E45BB8FDBC2}"/>
                </a:ext>
              </a:extLst>
            </p:cNvPr>
            <p:cNvSpPr/>
            <p:nvPr/>
          </p:nvSpPr>
          <p:spPr>
            <a:xfrm>
              <a:off x="5094732" y="2436520"/>
              <a:ext cx="68198" cy="270086"/>
            </a:xfrm>
            <a:custGeom>
              <a:avLst/>
              <a:gdLst>
                <a:gd name="connsiteX0" fmla="*/ 68199 w 68198"/>
                <a:gd name="connsiteY0" fmla="*/ 270087 h 270086"/>
                <a:gd name="connsiteX1" fmla="*/ 0 w 68198"/>
                <a:gd name="connsiteY1" fmla="*/ 270087 h 270086"/>
                <a:gd name="connsiteX2" fmla="*/ 0 w 68198"/>
                <a:gd name="connsiteY2" fmla="*/ 0 h 270086"/>
                <a:gd name="connsiteX3" fmla="*/ 68199 w 68198"/>
                <a:gd name="connsiteY3" fmla="*/ 0 h 270086"/>
                <a:gd name="connsiteX4" fmla="*/ 68199 w 68198"/>
                <a:gd name="connsiteY4" fmla="*/ 270087 h 270086"/>
                <a:gd name="connsiteX5" fmla="*/ 9525 w 68198"/>
                <a:gd name="connsiteY5" fmla="*/ 260773 h 270086"/>
                <a:gd name="connsiteX6" fmla="*/ 58674 w 68198"/>
                <a:gd name="connsiteY6" fmla="*/ 260773 h 270086"/>
                <a:gd name="connsiteX7" fmla="*/ 58674 w 68198"/>
                <a:gd name="connsiteY7" fmla="*/ 9313 h 270086"/>
                <a:gd name="connsiteX8" fmla="*/ 9525 w 68198"/>
                <a:gd name="connsiteY8" fmla="*/ 9313 h 270086"/>
                <a:gd name="connsiteX9" fmla="*/ 9525 w 68198"/>
                <a:gd name="connsiteY9" fmla="*/ 260773 h 2700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68198" h="270086">
                  <a:moveTo>
                    <a:pt x="68199" y="270087"/>
                  </a:moveTo>
                  <a:lnTo>
                    <a:pt x="0" y="270087"/>
                  </a:lnTo>
                  <a:lnTo>
                    <a:pt x="0" y="0"/>
                  </a:lnTo>
                  <a:lnTo>
                    <a:pt x="68199" y="0"/>
                  </a:lnTo>
                  <a:lnTo>
                    <a:pt x="68199" y="270087"/>
                  </a:lnTo>
                  <a:close/>
                  <a:moveTo>
                    <a:pt x="9525" y="260773"/>
                  </a:moveTo>
                  <a:lnTo>
                    <a:pt x="58674" y="260773"/>
                  </a:lnTo>
                  <a:lnTo>
                    <a:pt x="58674" y="9313"/>
                  </a:lnTo>
                  <a:lnTo>
                    <a:pt x="9525" y="9313"/>
                  </a:lnTo>
                  <a:lnTo>
                    <a:pt x="9525" y="260773"/>
                  </a:lnTo>
                  <a:close/>
                </a:path>
              </a:pathLst>
            </a:cu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2400"/>
            </a:p>
          </p:txBody>
        </p:sp>
        <p:sp>
          <p:nvSpPr>
            <p:cNvPr id="40" name="Forme libre 39">
              <a:extLst>
                <a:ext uri="{FF2B5EF4-FFF2-40B4-BE49-F238E27FC236}">
                  <a16:creationId xmlns:a16="http://schemas.microsoft.com/office/drawing/2014/main" id="{BC4F053C-9EC8-E252-2B16-60EBB626FE3D}"/>
                </a:ext>
              </a:extLst>
            </p:cNvPr>
            <p:cNvSpPr/>
            <p:nvPr/>
          </p:nvSpPr>
          <p:spPr>
            <a:xfrm>
              <a:off x="5208174" y="2432050"/>
              <a:ext cx="292989" cy="279027"/>
            </a:xfrm>
            <a:custGeom>
              <a:avLst/>
              <a:gdLst>
                <a:gd name="connsiteX0" fmla="*/ 146114 w 292989"/>
                <a:gd name="connsiteY0" fmla="*/ 279027 h 279027"/>
                <a:gd name="connsiteX1" fmla="*/ 0 w 292989"/>
                <a:gd name="connsiteY1" fmla="*/ 140259 h 279027"/>
                <a:gd name="connsiteX2" fmla="*/ 0 w 292989"/>
                <a:gd name="connsiteY2" fmla="*/ 139514 h 279027"/>
                <a:gd name="connsiteX3" fmla="*/ 146876 w 292989"/>
                <a:gd name="connsiteY3" fmla="*/ 0 h 279027"/>
                <a:gd name="connsiteX4" fmla="*/ 292989 w 292989"/>
                <a:gd name="connsiteY4" fmla="*/ 138769 h 279027"/>
                <a:gd name="connsiteX5" fmla="*/ 146114 w 292989"/>
                <a:gd name="connsiteY5" fmla="*/ 279027 h 279027"/>
                <a:gd name="connsiteX6" fmla="*/ 146876 w 292989"/>
                <a:gd name="connsiteY6" fmla="*/ 9313 h 279027"/>
                <a:gd name="connsiteX7" fmla="*/ 9525 w 292989"/>
                <a:gd name="connsiteY7" fmla="*/ 139514 h 279027"/>
                <a:gd name="connsiteX8" fmla="*/ 9525 w 292989"/>
                <a:gd name="connsiteY8" fmla="*/ 140259 h 279027"/>
                <a:gd name="connsiteX9" fmla="*/ 146114 w 292989"/>
                <a:gd name="connsiteY9" fmla="*/ 269714 h 279027"/>
                <a:gd name="connsiteX10" fmla="*/ 283464 w 292989"/>
                <a:gd name="connsiteY10" fmla="*/ 139514 h 279027"/>
                <a:gd name="connsiteX11" fmla="*/ 146876 w 292989"/>
                <a:gd name="connsiteY11" fmla="*/ 9313 h 279027"/>
                <a:gd name="connsiteX12" fmla="*/ 146876 w 292989"/>
                <a:gd name="connsiteY12" fmla="*/ 226128 h 279027"/>
                <a:gd name="connsiteX13" fmla="*/ 61341 w 292989"/>
                <a:gd name="connsiteY13" fmla="*/ 139514 h 279027"/>
                <a:gd name="connsiteX14" fmla="*/ 146114 w 292989"/>
                <a:gd name="connsiteY14" fmla="*/ 52900 h 279027"/>
                <a:gd name="connsiteX15" fmla="*/ 231648 w 292989"/>
                <a:gd name="connsiteY15" fmla="*/ 139514 h 279027"/>
                <a:gd name="connsiteX16" fmla="*/ 231648 w 292989"/>
                <a:gd name="connsiteY16" fmla="*/ 140259 h 279027"/>
                <a:gd name="connsiteX17" fmla="*/ 146876 w 292989"/>
                <a:gd name="connsiteY17" fmla="*/ 226128 h 279027"/>
                <a:gd name="connsiteX18" fmla="*/ 146114 w 292989"/>
                <a:gd name="connsiteY18" fmla="*/ 62213 h 279027"/>
                <a:gd name="connsiteX19" fmla="*/ 70866 w 292989"/>
                <a:gd name="connsiteY19" fmla="*/ 138769 h 279027"/>
                <a:gd name="connsiteX20" fmla="*/ 146876 w 292989"/>
                <a:gd name="connsiteY20" fmla="*/ 216814 h 279027"/>
                <a:gd name="connsiteX21" fmla="*/ 222123 w 292989"/>
                <a:gd name="connsiteY21" fmla="*/ 140259 h 279027"/>
                <a:gd name="connsiteX22" fmla="*/ 222123 w 292989"/>
                <a:gd name="connsiteY22" fmla="*/ 139514 h 279027"/>
                <a:gd name="connsiteX23" fmla="*/ 146114 w 292989"/>
                <a:gd name="connsiteY23" fmla="*/ 62213 h 2790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292989" h="279027">
                  <a:moveTo>
                    <a:pt x="146114" y="279027"/>
                  </a:moveTo>
                  <a:cubicBezTo>
                    <a:pt x="62865" y="279027"/>
                    <a:pt x="0" y="219422"/>
                    <a:pt x="0" y="140259"/>
                  </a:cubicBezTo>
                  <a:lnTo>
                    <a:pt x="0" y="139514"/>
                  </a:lnTo>
                  <a:cubicBezTo>
                    <a:pt x="0" y="61282"/>
                    <a:pt x="64484" y="0"/>
                    <a:pt x="146876" y="0"/>
                  </a:cubicBezTo>
                  <a:cubicBezTo>
                    <a:pt x="229267" y="0"/>
                    <a:pt x="292989" y="59605"/>
                    <a:pt x="292989" y="138769"/>
                  </a:cubicBezTo>
                  <a:cubicBezTo>
                    <a:pt x="292989" y="217932"/>
                    <a:pt x="228505" y="279027"/>
                    <a:pt x="146114" y="279027"/>
                  </a:cubicBezTo>
                  <a:close/>
                  <a:moveTo>
                    <a:pt x="146876" y="9313"/>
                  </a:moveTo>
                  <a:cubicBezTo>
                    <a:pt x="69914" y="9313"/>
                    <a:pt x="9525" y="66497"/>
                    <a:pt x="9525" y="139514"/>
                  </a:cubicBezTo>
                  <a:lnTo>
                    <a:pt x="9525" y="140259"/>
                  </a:lnTo>
                  <a:cubicBezTo>
                    <a:pt x="9525" y="214020"/>
                    <a:pt x="68199" y="269714"/>
                    <a:pt x="146114" y="269714"/>
                  </a:cubicBezTo>
                  <a:cubicBezTo>
                    <a:pt x="224028" y="269714"/>
                    <a:pt x="283464" y="212530"/>
                    <a:pt x="283464" y="139514"/>
                  </a:cubicBezTo>
                  <a:cubicBezTo>
                    <a:pt x="283464" y="66497"/>
                    <a:pt x="224790" y="9313"/>
                    <a:pt x="146876" y="9313"/>
                  </a:cubicBezTo>
                  <a:close/>
                  <a:moveTo>
                    <a:pt x="146876" y="226128"/>
                  </a:moveTo>
                  <a:cubicBezTo>
                    <a:pt x="98870" y="226128"/>
                    <a:pt x="61341" y="188129"/>
                    <a:pt x="61341" y="139514"/>
                  </a:cubicBezTo>
                  <a:cubicBezTo>
                    <a:pt x="61341" y="90898"/>
                    <a:pt x="97822" y="52900"/>
                    <a:pt x="146114" y="52900"/>
                  </a:cubicBezTo>
                  <a:cubicBezTo>
                    <a:pt x="194405" y="52900"/>
                    <a:pt x="231648" y="90898"/>
                    <a:pt x="231648" y="139514"/>
                  </a:cubicBezTo>
                  <a:lnTo>
                    <a:pt x="231648" y="140259"/>
                  </a:lnTo>
                  <a:cubicBezTo>
                    <a:pt x="231648" y="189247"/>
                    <a:pt x="195167" y="226128"/>
                    <a:pt x="146876" y="226128"/>
                  </a:cubicBezTo>
                  <a:close/>
                  <a:moveTo>
                    <a:pt x="146114" y="62213"/>
                  </a:moveTo>
                  <a:cubicBezTo>
                    <a:pt x="103251" y="62213"/>
                    <a:pt x="70866" y="95089"/>
                    <a:pt x="70866" y="138769"/>
                  </a:cubicBezTo>
                  <a:cubicBezTo>
                    <a:pt x="70866" y="182448"/>
                    <a:pt x="103537" y="216814"/>
                    <a:pt x="146876" y="216814"/>
                  </a:cubicBezTo>
                  <a:cubicBezTo>
                    <a:pt x="190214" y="216814"/>
                    <a:pt x="222123" y="183938"/>
                    <a:pt x="222123" y="140259"/>
                  </a:cubicBezTo>
                  <a:lnTo>
                    <a:pt x="222123" y="139514"/>
                  </a:lnTo>
                  <a:cubicBezTo>
                    <a:pt x="222123" y="95462"/>
                    <a:pt x="189452" y="62213"/>
                    <a:pt x="146114" y="62213"/>
                  </a:cubicBezTo>
                  <a:close/>
                </a:path>
              </a:pathLst>
            </a:cu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2400"/>
            </a:p>
          </p:txBody>
        </p:sp>
      </p:grpSp>
    </p:spTree>
    <p:extLst>
      <p:ext uri="{BB962C8B-B14F-4D97-AF65-F5344CB8AC3E}">
        <p14:creationId xmlns:p14="http://schemas.microsoft.com/office/powerpoint/2010/main" val="403313991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V1.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 4">
            <a:extLst>
              <a:ext uri="{FF2B5EF4-FFF2-40B4-BE49-F238E27FC236}">
                <a16:creationId xmlns:a16="http://schemas.microsoft.com/office/drawing/2014/main" id="{EBBD4120-9DD7-4BD5-C7AE-1779C901C6A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1388"/>
            <a:ext cx="12192000" cy="6858000"/>
          </a:xfrm>
          <a:prstGeom prst="rect">
            <a:avLst/>
          </a:prstGeom>
        </p:spPr>
      </p:pic>
      <p:pic>
        <p:nvPicPr>
          <p:cNvPr id="12" name="Graphique 11">
            <a:extLst>
              <a:ext uri="{FF2B5EF4-FFF2-40B4-BE49-F238E27FC236}">
                <a16:creationId xmlns:a16="http://schemas.microsoft.com/office/drawing/2014/main" id="{A673A3F2-4D62-32A2-B2B1-67A21CE62FE5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0" y="2040469"/>
            <a:ext cx="12192000" cy="4817532"/>
          </a:xfrm>
          <a:prstGeom prst="rect">
            <a:avLst/>
          </a:prstGeom>
        </p:spPr>
      </p:pic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B2CF73EA-6EE9-1936-8D28-1518C514B48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93672824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51" imgH="351" progId="TCLayout.ActiveDocument.1">
                  <p:embed/>
                </p:oleObj>
              </mc:Choice>
              <mc:Fallback>
                <p:oleObj name="think-cell Slide" r:id="rId5" imgW="351" imgH="351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2CF73EA-6EE9-1936-8D28-1518C514B48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think-cell data - do not delete" hidden="1">
            <a:extLst>
              <a:ext uri="{FF2B5EF4-FFF2-40B4-BE49-F238E27FC236}">
                <a16:creationId xmlns:a16="http://schemas.microsoft.com/office/drawing/2014/main" id="{BD846D2A-B8C5-EE28-84C6-83C8CFD820AB}"/>
              </a:ext>
            </a:extLst>
          </p:cNvPr>
          <p:cNvPicPr/>
          <p:nvPr/>
        </p:nvPicPr>
        <p:blipFill>
          <a:blip r:embed="rId6"/>
          <a:stretch>
            <a:fillRect/>
          </a:stretch>
        </p:blipFill>
        <p:spPr>
          <a:xfrm>
            <a:off x="2118" y="2118"/>
            <a:ext cx="2117" cy="2117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E0793C3E-10E0-C9F1-9679-D37394633063}"/>
              </a:ext>
            </a:extLst>
          </p:cNvPr>
          <p:cNvSpPr/>
          <p:nvPr userDrawn="1"/>
        </p:nvSpPr>
        <p:spPr>
          <a:xfrm>
            <a:off x="446546" y="468523"/>
            <a:ext cx="11298909" cy="638947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GB" sz="2400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BBBFCA8-C5FD-3908-E5C7-AA01C77E1EC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264965" y="1680131"/>
            <a:ext cx="9038963" cy="2976000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buNone/>
              <a:defRPr sz="5333" b="1" spc="-133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noProof="0" dirty="0"/>
              <a:t>Insert text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7FD7EF8A-B006-BE66-6502-83FE0E12F6D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264965" y="4803408"/>
            <a:ext cx="9038963" cy="389851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>
            <a:lvl1pPr marL="0" indent="0" algn="r" rtl="0">
              <a:lnSpc>
                <a:spcPct val="100000"/>
              </a:lnSpc>
              <a:spcBef>
                <a:spcPts val="0"/>
              </a:spcBef>
              <a:buNone/>
              <a:defRPr sz="2533" b="1" spc="-133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en-GB" noProof="0" dirty="0"/>
              <a:t>Insert text</a:t>
            </a:r>
          </a:p>
        </p:txBody>
      </p:sp>
      <p:pic>
        <p:nvPicPr>
          <p:cNvPr id="10" name="Graphic 2">
            <a:extLst>
              <a:ext uri="{FF2B5EF4-FFF2-40B4-BE49-F238E27FC236}">
                <a16:creationId xmlns:a16="http://schemas.microsoft.com/office/drawing/2014/main" id="{9E2F6127-14B0-7E23-1B71-358F705F5764}"/>
              </a:ext>
            </a:extLst>
          </p:cNvPr>
          <p:cNvPicPr>
            <a:picLocks noChangeAspect="1"/>
          </p:cNvPicPr>
          <p:nvPr userDrawn="1"/>
        </p:nvPicPr>
        <p:blipFill>
          <a:blip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966423" y="6258027"/>
            <a:ext cx="779032" cy="325227"/>
          </a:xfrm>
          <a:prstGeom prst="rect">
            <a:avLst/>
          </a:prstGeom>
        </p:spPr>
      </p:pic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2D5DDC17-7DE2-5817-74DF-7C257535F4A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41629" y="6439624"/>
            <a:ext cx="4114800" cy="143629"/>
          </a:xfrm>
          <a:prstGeom prst="rect">
            <a:avLst/>
          </a:prstGeom>
        </p:spPr>
        <p:txBody>
          <a:bodyPr vert="horz" lIns="0" tIns="0" rIns="0" bIns="0" rtlCol="0" anchor="b">
            <a:spAutoFit/>
          </a:bodyPr>
          <a:lstStyle>
            <a:lvl1pPr algn="ctr" rtl="0">
              <a:defRPr sz="933">
                <a:solidFill>
                  <a:schemeClr val="accent1"/>
                </a:solidFill>
              </a:defRPr>
            </a:lvl1pPr>
          </a:lstStyle>
          <a:p>
            <a:r>
              <a:rPr lang="en-GB"/>
              <a:t>THIS IS THE NAME OF THE PRESENTATION</a:t>
            </a:r>
            <a:endParaRPr lang="en-GB" dirty="0"/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BB1BFF01-3BD3-5D1E-55E4-5CBA14EB857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58084" y="6434426"/>
            <a:ext cx="315017" cy="143629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 rtl="0">
              <a:defRPr sz="933">
                <a:solidFill>
                  <a:schemeClr val="accent1"/>
                </a:solidFill>
              </a:defRPr>
            </a:lvl1pPr>
          </a:lstStyle>
          <a:p>
            <a:fld id="{809B0AF7-3924-4693-AD32-8215A0397987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3264488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V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3">
            <a:extLst>
              <a:ext uri="{FF2B5EF4-FFF2-40B4-BE49-F238E27FC236}">
                <a16:creationId xmlns:a16="http://schemas.microsoft.com/office/drawing/2014/main" id="{7A5E0B39-C58D-8B5E-8DFE-2CEBBCF41712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1388"/>
            <a:ext cx="12192000" cy="6858000"/>
          </a:xfrm>
          <a:prstGeom prst="rect">
            <a:avLst/>
          </a:prstGeom>
        </p:spPr>
      </p:pic>
      <p:pic>
        <p:nvPicPr>
          <p:cNvPr id="7" name="Graphic 2">
            <a:extLst>
              <a:ext uri="{FF2B5EF4-FFF2-40B4-BE49-F238E27FC236}">
                <a16:creationId xmlns:a16="http://schemas.microsoft.com/office/drawing/2014/main" id="{7F16DC7D-18D7-B2B1-F3CE-77EDA9E0D156}"/>
              </a:ext>
            </a:extLst>
          </p:cNvPr>
          <p:cNvPicPr>
            <a:picLocks noChangeAspect="1"/>
          </p:cNvPicPr>
          <p:nvPr userDrawn="1"/>
        </p:nvPicPr>
        <p:blipFill>
          <a:blip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165937" y="5823526"/>
            <a:ext cx="1523224" cy="635909"/>
          </a:xfrm>
          <a:prstGeom prst="rect">
            <a:avLst/>
          </a:prstGeom>
        </p:spPr>
      </p:pic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F34AEBE0-3621-4E1A-FBD1-DDBA1DE9439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53195756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51" imgH="351" progId="TCLayout.ActiveDocument.1">
                  <p:embed/>
                </p:oleObj>
              </mc:Choice>
              <mc:Fallback>
                <p:oleObj name="think-cell Slide" r:id="rId5" imgW="351" imgH="351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34AEBE0-3621-4E1A-FBD1-DDBA1DE9439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think-cell data - do not delete" hidden="1">
            <a:extLst>
              <a:ext uri="{FF2B5EF4-FFF2-40B4-BE49-F238E27FC236}">
                <a16:creationId xmlns:a16="http://schemas.microsoft.com/office/drawing/2014/main" id="{2E9D4F9B-61B6-AFF0-2C61-6E0A9BA821FE}"/>
              </a:ext>
            </a:extLst>
          </p:cNvPr>
          <p:cNvPicPr/>
          <p:nvPr/>
        </p:nvPicPr>
        <p:blipFill>
          <a:blip r:embed="rId6"/>
          <a:stretch>
            <a:fillRect/>
          </a:stretch>
        </p:blipFill>
        <p:spPr>
          <a:xfrm>
            <a:off x="2118" y="2118"/>
            <a:ext cx="2117" cy="2117"/>
          </a:xfrm>
          <a:prstGeom prst="rect">
            <a:avLst/>
          </a:prstGeom>
        </p:spPr>
      </p:pic>
      <p:sp>
        <p:nvSpPr>
          <p:cNvPr id="6" name="Title 4">
            <a:extLst>
              <a:ext uri="{FF2B5EF4-FFF2-40B4-BE49-F238E27FC236}">
                <a16:creationId xmlns:a16="http://schemas.microsoft.com/office/drawing/2014/main" id="{4D5BD571-6BB2-9198-842C-F400141FCA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91960" y="2557828"/>
            <a:ext cx="8453936" cy="1354217"/>
          </a:xfrm>
          <a:prstGeom prst="rect">
            <a:avLst/>
          </a:prstGeom>
        </p:spPr>
        <p:txBody>
          <a:bodyPr vert="horz" lIns="0" tIns="0" rIns="0" bIns="0" anchor="ctr">
            <a:noAutofit/>
          </a:bodyPr>
          <a:lstStyle>
            <a:lvl1pPr algn="l" rtl="0">
              <a:lnSpc>
                <a:spcPct val="100000"/>
              </a:lnSpc>
              <a:defRPr sz="8000" b="1" cap="all" baseline="0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400219526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9861848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0" r:id="rId1"/>
    <p:sldLayoutId id="2147483651" r:id="rId2"/>
    <p:sldLayoutId id="2147483658" r:id="rId3"/>
    <p:sldLayoutId id="2147483664" r:id="rId4"/>
    <p:sldLayoutId id="2147483668" r:id="rId5"/>
    <p:sldLayoutId id="2147483669" r:id="rId6"/>
    <p:sldLayoutId id="2147483670" r:id="rId7"/>
    <p:sldLayoutId id="2147483671" r:id="rId8"/>
    <p:sldLayoutId id="2147483672" r:id="rId9"/>
    <p:sldLayoutId id="2147483649" r:id="rId10"/>
    <p:sldLayoutId id="2147483676" r:id="rId11"/>
    <p:sldLayoutId id="2147483685" r:id="rId12"/>
    <p:sldLayoutId id="2147483686" r:id="rId1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13.xml"/><Relationship Id="rId5" Type="http://schemas.openxmlformats.org/officeDocument/2006/relationships/image" Target="../media/image11.emf"/><Relationship Id="rId4" Type="http://schemas.openxmlformats.org/officeDocument/2006/relationships/oleObject" Target="../embeddings/oleObject3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14.xml"/><Relationship Id="rId5" Type="http://schemas.openxmlformats.org/officeDocument/2006/relationships/image" Target="../media/image11.emf"/><Relationship Id="rId4" Type="http://schemas.openxmlformats.org/officeDocument/2006/relationships/oleObject" Target="../embeddings/oleObject3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15.xml"/><Relationship Id="rId5" Type="http://schemas.openxmlformats.org/officeDocument/2006/relationships/image" Target="../media/image11.emf"/><Relationship Id="rId4" Type="http://schemas.openxmlformats.org/officeDocument/2006/relationships/oleObject" Target="../embeddings/oleObject3.bin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B57C8C22-C35D-8B66-59E7-3EAE2A66CCC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1" imgH="351" progId="TCLayout.ActiveDocument.1">
                  <p:embed/>
                </p:oleObj>
              </mc:Choice>
              <mc:Fallback>
                <p:oleObj name="think-cell Slide" r:id="rId4" imgW="351" imgH="351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57C8C22-C35D-8B66-59E7-3EAE2A66CCC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think-cell data - do not delete" hidden="1">
            <a:extLst>
              <a:ext uri="{FF2B5EF4-FFF2-40B4-BE49-F238E27FC236}">
                <a16:creationId xmlns:a16="http://schemas.microsoft.com/office/drawing/2014/main" id="{6D0C3265-B071-3A56-B3EF-6DB7AB795636}"/>
              </a:ext>
            </a:extLst>
          </p:cNvPr>
          <p:cNvPicPr/>
          <p:nvPr/>
        </p:nvPicPr>
        <p:blipFill>
          <a:blip r:embed="rId5"/>
          <a:stretch>
            <a:fillRect/>
          </a:stretch>
        </p:blipFill>
        <p:spPr>
          <a:xfrm>
            <a:off x="2118" y="2118"/>
            <a:ext cx="2117" cy="2117"/>
          </a:xfrm>
          <a:prstGeom prst="rect">
            <a:avLst/>
          </a:prstGeo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43DC3189-C8B8-DA3A-5E04-C0E5A2954C4C}"/>
              </a:ext>
            </a:extLst>
          </p:cNvPr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vert="horz"/>
          <a:lstStyle/>
          <a:p>
            <a:r>
              <a:rPr lang="en-GB" dirty="0"/>
              <a:t>DSP </a:t>
            </a:r>
            <a:r>
              <a:rPr lang="en-GB" dirty="0" err="1"/>
              <a:t>og</a:t>
            </a:r>
            <a:r>
              <a:rPr lang="en-GB" dirty="0"/>
              <a:t> </a:t>
            </a:r>
            <a:r>
              <a:rPr lang="en-GB" dirty="0" err="1"/>
              <a:t>andre</a:t>
            </a:r>
            <a:r>
              <a:rPr lang="en-GB" dirty="0"/>
              <a:t> </a:t>
            </a:r>
            <a:r>
              <a:rPr lang="en-GB" dirty="0" err="1"/>
              <a:t>systemer</a:t>
            </a:r>
            <a:endParaRPr lang="en-GB" dirty="0"/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B5F79BA2-968F-D447-9797-564200CAD21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0045243D-A1F9-8644-7FC5-E20A11E3F20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52396949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EC4D49FF-285B-4AEC-0378-ABD124FF531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1" imgH="351" progId="TCLayout.ActiveDocument.1">
                  <p:embed/>
                </p:oleObj>
              </mc:Choice>
              <mc:Fallback>
                <p:oleObj name="think-cell Slide" r:id="rId4" imgW="351" imgH="351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C4D49FF-285B-4AEC-0378-ABD124FF531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think-cell data - do not delete" hidden="1">
            <a:extLst>
              <a:ext uri="{FF2B5EF4-FFF2-40B4-BE49-F238E27FC236}">
                <a16:creationId xmlns:a16="http://schemas.microsoft.com/office/drawing/2014/main" id="{26754E5C-DFFF-7335-5E77-7C90D47DC780}"/>
              </a:ext>
            </a:extLst>
          </p:cNvPr>
          <p:cNvPicPr/>
          <p:nvPr/>
        </p:nvPicPr>
        <p:blipFill>
          <a:blip r:embed="rId5"/>
          <a:stretch>
            <a:fillRect/>
          </a:stretch>
        </p:blipFill>
        <p:spPr>
          <a:xfrm>
            <a:off x="2118" y="2118"/>
            <a:ext cx="2117" cy="2117"/>
          </a:xfrm>
          <a:prstGeom prst="rect">
            <a:avLst/>
          </a:prstGeom>
        </p:spPr>
      </p:pic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CF8CC9C8-D52C-7ED0-F361-53D24446B43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41629" y="6439688"/>
            <a:ext cx="4114800" cy="143565"/>
          </a:xfrm>
        </p:spPr>
        <p:txBody>
          <a:bodyPr/>
          <a:lstStyle/>
          <a:p>
            <a:pPr lvl="0"/>
            <a:r>
              <a:rPr lang="en-GB" noProof="1"/>
              <a:t>DSP OG ANDRE SYSTEMER</a:t>
            </a:r>
          </a:p>
        </p:txBody>
      </p:sp>
      <p:sp>
        <p:nvSpPr>
          <p:cNvPr id="21" name="Title 20">
            <a:extLst>
              <a:ext uri="{FF2B5EF4-FFF2-40B4-BE49-F238E27FC236}">
                <a16:creationId xmlns:a16="http://schemas.microsoft.com/office/drawing/2014/main" id="{6CB74D95-C26F-11B3-02A5-9EAB14717A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noProof="1"/>
              <a:t>Hva er dSP?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5849B4F2-A4A0-70A7-A0A1-132CC5A31E2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09B0AF7-3924-4693-AD32-8215A0397987}" type="slidenum">
              <a:rPr lang="en-GB" smtClean="0"/>
              <a:pPr/>
              <a:t>2</a:t>
            </a:fld>
            <a:endParaRPr lang="en-GB" dirty="0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00B7AF34-3F98-FC8E-DE96-B833D8DEDDB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GB" noProof="1"/>
              <a:t>Intern Integrasjonsplattform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C1210AEF-7C6A-C5D7-1981-0111DB2BEAD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dirty="0" err="1"/>
              <a:t>Integrasjoner</a:t>
            </a:r>
            <a:r>
              <a:rPr lang="fr-FR" dirty="0"/>
              <a:t> </a:t>
            </a:r>
            <a:r>
              <a:rPr lang="fr-FR" dirty="0" err="1"/>
              <a:t>og</a:t>
            </a:r>
            <a:r>
              <a:rPr lang="fr-FR" dirty="0"/>
              <a:t> dat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dirty="0" err="1"/>
              <a:t>Utviklere</a:t>
            </a:r>
            <a:endParaRPr lang="fr-FR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dirty="0" err="1"/>
              <a:t>Enklere</a:t>
            </a:r>
            <a:r>
              <a:rPr lang="fr-FR" dirty="0"/>
              <a:t> å </a:t>
            </a:r>
            <a:r>
              <a:rPr lang="fr-FR" dirty="0" err="1"/>
              <a:t>dra</a:t>
            </a:r>
            <a:r>
              <a:rPr lang="fr-FR" dirty="0"/>
              <a:t> </a:t>
            </a:r>
            <a:r>
              <a:rPr lang="fr-FR" dirty="0" err="1"/>
              <a:t>nytte</a:t>
            </a:r>
            <a:r>
              <a:rPr lang="fr-FR" dirty="0"/>
              <a:t> av </a:t>
            </a:r>
            <a:r>
              <a:rPr lang="fr-FR" dirty="0" err="1"/>
              <a:t>arbeidet</a:t>
            </a:r>
            <a:r>
              <a:rPr lang="fr-FR" dirty="0"/>
              <a:t> </a:t>
            </a:r>
            <a:r>
              <a:rPr lang="fr-FR" dirty="0" err="1"/>
              <a:t>lagt</a:t>
            </a:r>
            <a:r>
              <a:rPr lang="fr-FR" dirty="0"/>
              <a:t> </a:t>
            </a:r>
            <a:r>
              <a:rPr lang="fr-FR" dirty="0" err="1"/>
              <a:t>ned</a:t>
            </a:r>
            <a:r>
              <a:rPr lang="fr-FR" dirty="0"/>
              <a:t> av </a:t>
            </a:r>
            <a:r>
              <a:rPr lang="fr-FR" dirty="0" err="1"/>
              <a:t>hverandre</a:t>
            </a:r>
            <a:endParaRPr lang="fr-FR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dirty="0" err="1"/>
              <a:t>Enklere</a:t>
            </a:r>
            <a:r>
              <a:rPr lang="fr-FR" dirty="0"/>
              <a:t> </a:t>
            </a:r>
            <a:r>
              <a:rPr lang="fr-FR" dirty="0" err="1"/>
              <a:t>videreutvikling</a:t>
            </a:r>
            <a:r>
              <a:rPr lang="fr-FR" dirty="0"/>
              <a:t> </a:t>
            </a:r>
            <a:r>
              <a:rPr lang="fr-FR" dirty="0" err="1"/>
              <a:t>og</a:t>
            </a:r>
            <a:r>
              <a:rPr lang="fr-FR" dirty="0"/>
              <a:t> </a:t>
            </a:r>
            <a:r>
              <a:rPr lang="fr-FR" dirty="0" err="1"/>
              <a:t>forvaltning</a:t>
            </a:r>
            <a:endParaRPr lang="fr-FR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fr-FR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fr-FR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09613627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E2FE52F3-EBE1-8128-4CA3-1B130B775D1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1" imgH="351" progId="TCLayout.ActiveDocument.1">
                  <p:embed/>
                </p:oleObj>
              </mc:Choice>
              <mc:Fallback>
                <p:oleObj name="think-cell Slide" r:id="rId4" imgW="351" imgH="351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2FE52F3-EBE1-8128-4CA3-1B130B775D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2" name="think-cell data - do not delete" hidden="1">
            <a:extLst>
              <a:ext uri="{FF2B5EF4-FFF2-40B4-BE49-F238E27FC236}">
                <a16:creationId xmlns:a16="http://schemas.microsoft.com/office/drawing/2014/main" id="{E2A51352-73B8-3631-AA78-482B10115745}"/>
              </a:ext>
            </a:extLst>
          </p:cNvPr>
          <p:cNvPicPr/>
          <p:nvPr/>
        </p:nvPicPr>
        <p:blipFill>
          <a:blip r:embed="rId5"/>
          <a:stretch>
            <a:fillRect/>
          </a:stretch>
        </p:blipFill>
        <p:spPr>
          <a:xfrm>
            <a:off x="2118" y="2118"/>
            <a:ext cx="2117" cy="2117"/>
          </a:xfrm>
          <a:prstGeom prst="rect">
            <a:avLst/>
          </a:prstGeom>
        </p:spPr>
      </p:pic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8216748D-8151-02D6-8D27-5C30A86C32B5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56656" y="1686449"/>
            <a:ext cx="5689437" cy="246221"/>
          </a:xfrm>
        </p:spPr>
        <p:txBody>
          <a:bodyPr/>
          <a:lstStyle/>
          <a:p>
            <a:endParaRPr lang="en-GB" noProof="1"/>
          </a:p>
        </p:txBody>
      </p:sp>
      <p:sp>
        <p:nvSpPr>
          <p:cNvPr id="14" name="Espace réservé du texte 13">
            <a:extLst>
              <a:ext uri="{FF2B5EF4-FFF2-40B4-BE49-F238E27FC236}">
                <a16:creationId xmlns:a16="http://schemas.microsoft.com/office/drawing/2014/main" id="{4BC7FE54-C461-1933-0DBE-E2EF634B5D3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56656" y="2016648"/>
            <a:ext cx="5689437" cy="1412352"/>
          </a:xfrm>
        </p:spPr>
        <p:txBody>
          <a:bodyPr/>
          <a:lstStyle/>
          <a:p>
            <a:endParaRPr lang="fr-FR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dirty="0" err="1"/>
              <a:t>Gjenbruke</a:t>
            </a:r>
            <a:r>
              <a:rPr lang="fr-FR" dirty="0"/>
              <a:t> </a:t>
            </a:r>
            <a:r>
              <a:rPr lang="fr-FR" dirty="0" err="1"/>
              <a:t>så</a:t>
            </a:r>
            <a:r>
              <a:rPr lang="fr-FR" dirty="0"/>
              <a:t> mye </a:t>
            </a:r>
            <a:r>
              <a:rPr lang="fr-FR" dirty="0" err="1"/>
              <a:t>som</a:t>
            </a:r>
            <a:r>
              <a:rPr lang="fr-FR" dirty="0"/>
              <a:t> </a:t>
            </a:r>
            <a:r>
              <a:rPr lang="fr-FR" dirty="0" err="1"/>
              <a:t>mulig</a:t>
            </a:r>
            <a:r>
              <a:rPr lang="fr-FR" dirty="0"/>
              <a:t> av </a:t>
            </a:r>
            <a:r>
              <a:rPr lang="fr-FR" dirty="0" err="1"/>
              <a:t>det</a:t>
            </a:r>
            <a:r>
              <a:rPr lang="fr-FR" dirty="0"/>
              <a:t> </a:t>
            </a:r>
            <a:r>
              <a:rPr lang="fr-FR" dirty="0" err="1"/>
              <a:t>som</a:t>
            </a:r>
            <a:r>
              <a:rPr lang="fr-FR" dirty="0"/>
              <a:t> </a:t>
            </a:r>
            <a:r>
              <a:rPr lang="fr-FR" dirty="0" err="1"/>
              <a:t>brukes</a:t>
            </a:r>
            <a:r>
              <a:rPr lang="fr-FR" dirty="0"/>
              <a:t> for </a:t>
            </a:r>
            <a:r>
              <a:rPr lang="fr-FR" dirty="0" err="1"/>
              <a:t>egeneide</a:t>
            </a:r>
            <a:r>
              <a:rPr lang="fr-FR" dirty="0"/>
              <a:t> </a:t>
            </a:r>
            <a:r>
              <a:rPr lang="fr-FR" dirty="0" err="1"/>
              <a:t>butikker</a:t>
            </a:r>
            <a:endParaRPr lang="fr-FR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dirty="0"/>
              <a:t>En </a:t>
            </a:r>
            <a:r>
              <a:rPr lang="fr-FR" dirty="0" err="1"/>
              <a:t>fremtidsrettet</a:t>
            </a:r>
            <a:r>
              <a:rPr lang="fr-FR" dirty="0"/>
              <a:t> </a:t>
            </a:r>
            <a:r>
              <a:rPr lang="fr-FR" dirty="0" err="1"/>
              <a:t>systemarkitektur</a:t>
            </a:r>
            <a:endParaRPr lang="fr-FR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dirty="0" err="1"/>
              <a:t>Posisjonere</a:t>
            </a:r>
            <a:r>
              <a:rPr lang="fr-FR" dirty="0"/>
              <a:t> </a:t>
            </a:r>
            <a:r>
              <a:rPr lang="fr-FR" dirty="0" err="1"/>
              <a:t>oss</a:t>
            </a:r>
            <a:r>
              <a:rPr lang="fr-FR" dirty="0"/>
              <a:t> </a:t>
            </a:r>
            <a:r>
              <a:rPr lang="fr-FR" dirty="0" err="1"/>
              <a:t>slik</a:t>
            </a:r>
            <a:r>
              <a:rPr lang="fr-FR" dirty="0"/>
              <a:t> at vi kan </a:t>
            </a:r>
            <a:r>
              <a:rPr lang="fr-FR" dirty="0" err="1"/>
              <a:t>få</a:t>
            </a:r>
            <a:r>
              <a:rPr lang="fr-FR" dirty="0"/>
              <a:t> </a:t>
            </a:r>
            <a:r>
              <a:rPr lang="fr-FR" dirty="0" err="1"/>
              <a:t>drahjelp</a:t>
            </a:r>
            <a:r>
              <a:rPr lang="fr-FR" dirty="0"/>
              <a:t> av </a:t>
            </a:r>
            <a:r>
              <a:rPr lang="fr-FR" dirty="0" err="1"/>
              <a:t>hele</a:t>
            </a:r>
            <a:r>
              <a:rPr lang="fr-FR" dirty="0"/>
              <a:t> SGDN I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fr-FR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fr-FR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fr-FR" dirty="0"/>
          </a:p>
        </p:txBody>
      </p:sp>
      <p:sp>
        <p:nvSpPr>
          <p:cNvPr id="12" name="Footer Placeholder 4">
            <a:extLst>
              <a:ext uri="{FF2B5EF4-FFF2-40B4-BE49-F238E27FC236}">
                <a16:creationId xmlns:a16="http://schemas.microsoft.com/office/drawing/2014/main" id="{020281EA-689A-DFB6-DC7D-D9AA7B6088F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>
            <a:lvl1pPr algn="ctr">
              <a:defRPr sz="933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dirty="0"/>
              <a:t>DSP</a:t>
            </a:r>
            <a:r>
              <a:rPr lang="en-GB" noProof="0" dirty="0"/>
              <a:t> OG ANDRE SYSTEMER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8773583C-8FC2-6DE5-8C98-3C254A21D92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noProof="1"/>
              <a:t>Valg av Systemarkitektur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F5BB5C79-FE10-B969-7418-4BAF7E6AE10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09B0AF7-3924-4693-AD32-8215A0397987}" type="slidenum">
              <a:rPr lang="en-GB" smtClean="0"/>
              <a:pPr/>
              <a:t>3</a:t>
            </a:fld>
            <a:endParaRPr lang="en-GB" dirty="0"/>
          </a:p>
        </p:txBody>
      </p:sp>
      <p:sp>
        <p:nvSpPr>
          <p:cNvPr id="13" name="Graphic 57">
            <a:extLst>
              <a:ext uri="{FF2B5EF4-FFF2-40B4-BE49-F238E27FC236}">
                <a16:creationId xmlns:a16="http://schemas.microsoft.com/office/drawing/2014/main" id="{46170740-FD12-21B4-FED7-312357B3D928}"/>
              </a:ext>
            </a:extLst>
          </p:cNvPr>
          <p:cNvSpPr/>
          <p:nvPr/>
        </p:nvSpPr>
        <p:spPr>
          <a:xfrm>
            <a:off x="9955524" y="3697050"/>
            <a:ext cx="1212851" cy="1611789"/>
          </a:xfrm>
          <a:custGeom>
            <a:avLst/>
            <a:gdLst>
              <a:gd name="connsiteX0" fmla="*/ 46062 w 415235"/>
              <a:gd name="connsiteY0" fmla="*/ 551809 h 551817"/>
              <a:gd name="connsiteX1" fmla="*/ 21418 w 415235"/>
              <a:gd name="connsiteY1" fmla="*/ 544415 h 551817"/>
              <a:gd name="connsiteX2" fmla="*/ 5892 w 415235"/>
              <a:gd name="connsiteY2" fmla="*/ 482557 h 551817"/>
              <a:gd name="connsiteX3" fmla="*/ 102745 w 415235"/>
              <a:gd name="connsiteY3" fmla="*/ 310046 h 551817"/>
              <a:gd name="connsiteX4" fmla="*/ 50498 w 415235"/>
              <a:gd name="connsiteY4" fmla="*/ 183619 h 551817"/>
              <a:gd name="connsiteX5" fmla="*/ 231615 w 415235"/>
              <a:gd name="connsiteY5" fmla="*/ 4 h 551817"/>
              <a:gd name="connsiteX6" fmla="*/ 415231 w 415235"/>
              <a:gd name="connsiteY6" fmla="*/ 181120 h 551817"/>
              <a:gd name="connsiteX7" fmla="*/ 337854 w 415235"/>
              <a:gd name="connsiteY7" fmla="*/ 331486 h 551817"/>
              <a:gd name="connsiteX8" fmla="*/ 326003 w 415235"/>
              <a:gd name="connsiteY8" fmla="*/ 327366 h 551817"/>
              <a:gd name="connsiteX9" fmla="*/ 327750 w 415235"/>
              <a:gd name="connsiteY9" fmla="*/ 317193 h 551817"/>
              <a:gd name="connsiteX10" fmla="*/ 367396 w 415235"/>
              <a:gd name="connsiteY10" fmla="*/ 87777 h 551817"/>
              <a:gd name="connsiteX11" fmla="*/ 137981 w 415235"/>
              <a:gd name="connsiteY11" fmla="*/ 48131 h 551817"/>
              <a:gd name="connsiteX12" fmla="*/ 68242 w 415235"/>
              <a:gd name="connsiteY12" fmla="*/ 183619 h 551817"/>
              <a:gd name="connsiteX13" fmla="*/ 111617 w 415235"/>
              <a:gd name="connsiteY13" fmla="*/ 294273 h 551817"/>
              <a:gd name="connsiteX14" fmla="*/ 149323 w 415235"/>
              <a:gd name="connsiteY14" fmla="*/ 226747 h 551817"/>
              <a:gd name="connsiteX15" fmla="*/ 215494 w 415235"/>
              <a:gd name="connsiteY15" fmla="*/ 203458 h 551817"/>
              <a:gd name="connsiteX16" fmla="*/ 238783 w 415235"/>
              <a:gd name="connsiteY16" fmla="*/ 269629 h 551817"/>
              <a:gd name="connsiteX17" fmla="*/ 204527 w 415235"/>
              <a:gd name="connsiteY17" fmla="*/ 327790 h 551817"/>
              <a:gd name="connsiteX18" fmla="*/ 168053 w 415235"/>
              <a:gd name="connsiteY18" fmla="*/ 343069 h 551817"/>
              <a:gd name="connsiteX19" fmla="*/ 115560 w 415235"/>
              <a:gd name="connsiteY19" fmla="*/ 323107 h 551817"/>
              <a:gd name="connsiteX20" fmla="*/ 20925 w 415235"/>
              <a:gd name="connsiteY20" fmla="*/ 491183 h 551817"/>
              <a:gd name="connsiteX21" fmla="*/ 30536 w 415235"/>
              <a:gd name="connsiteY21" fmla="*/ 529629 h 551817"/>
              <a:gd name="connsiteX22" fmla="*/ 52716 w 415235"/>
              <a:gd name="connsiteY22" fmla="*/ 533572 h 551817"/>
              <a:gd name="connsiteX23" fmla="*/ 70707 w 415235"/>
              <a:gd name="connsiteY23" fmla="*/ 520510 h 551817"/>
              <a:gd name="connsiteX24" fmla="*/ 147598 w 415235"/>
              <a:gd name="connsiteY24" fmla="*/ 393098 h 551817"/>
              <a:gd name="connsiteX25" fmla="*/ 159969 w 415235"/>
              <a:gd name="connsiteY25" fmla="*/ 391003 h 551817"/>
              <a:gd name="connsiteX26" fmla="*/ 162631 w 415235"/>
              <a:gd name="connsiteY26" fmla="*/ 402463 h 551817"/>
              <a:gd name="connsiteX27" fmla="*/ 85740 w 415235"/>
              <a:gd name="connsiteY27" fmla="*/ 529629 h 551817"/>
              <a:gd name="connsiteX28" fmla="*/ 56659 w 415235"/>
              <a:gd name="connsiteY28" fmla="*/ 550576 h 551817"/>
              <a:gd name="connsiteX29" fmla="*/ 46062 w 415235"/>
              <a:gd name="connsiteY29" fmla="*/ 551809 h 551817"/>
              <a:gd name="connsiteX30" fmla="*/ 124186 w 415235"/>
              <a:gd name="connsiteY30" fmla="*/ 307335 h 551817"/>
              <a:gd name="connsiteX31" fmla="*/ 167560 w 415235"/>
              <a:gd name="connsiteY31" fmla="*/ 325572 h 551817"/>
              <a:gd name="connsiteX32" fmla="*/ 192205 w 415235"/>
              <a:gd name="connsiteY32" fmla="*/ 315960 h 551817"/>
              <a:gd name="connsiteX33" fmla="*/ 221532 w 415235"/>
              <a:gd name="connsiteY33" fmla="*/ 262728 h 551817"/>
              <a:gd name="connsiteX34" fmla="*/ 203526 w 415235"/>
              <a:gd name="connsiteY34" fmla="*/ 221531 h 551817"/>
              <a:gd name="connsiteX35" fmla="*/ 185058 w 415235"/>
              <a:gd name="connsiteY35" fmla="*/ 220093 h 551817"/>
              <a:gd name="connsiteX36" fmla="*/ 164849 w 415235"/>
              <a:gd name="connsiteY36" fmla="*/ 235373 h 5518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</a:cxnLst>
            <a:rect l="l" t="t" r="r" b="b"/>
            <a:pathLst>
              <a:path w="415235" h="551817">
                <a:moveTo>
                  <a:pt x="46062" y="551809"/>
                </a:moveTo>
                <a:cubicBezTo>
                  <a:pt x="37300" y="551819"/>
                  <a:pt x="28728" y="549248"/>
                  <a:pt x="21418" y="544415"/>
                </a:cubicBezTo>
                <a:cubicBezTo>
                  <a:pt x="724" y="531127"/>
                  <a:pt x="-6074" y="504043"/>
                  <a:pt x="5892" y="482557"/>
                </a:cubicBezTo>
                <a:lnTo>
                  <a:pt x="102745" y="310046"/>
                </a:lnTo>
                <a:cubicBezTo>
                  <a:pt x="69929" y="276053"/>
                  <a:pt x="51253" y="230861"/>
                  <a:pt x="50498" y="183619"/>
                </a:cubicBezTo>
                <a:cubicBezTo>
                  <a:pt x="49808" y="82902"/>
                  <a:pt x="130897" y="694"/>
                  <a:pt x="231615" y="4"/>
                </a:cubicBezTo>
                <a:cubicBezTo>
                  <a:pt x="332331" y="-686"/>
                  <a:pt x="414541" y="80403"/>
                  <a:pt x="415231" y="181120"/>
                </a:cubicBezTo>
                <a:cubicBezTo>
                  <a:pt x="415640" y="240894"/>
                  <a:pt x="386729" y="297073"/>
                  <a:pt x="337854" y="331486"/>
                </a:cubicBezTo>
                <a:cubicBezTo>
                  <a:pt x="333443" y="333621"/>
                  <a:pt x="328137" y="331777"/>
                  <a:pt x="326003" y="327366"/>
                </a:cubicBezTo>
                <a:cubicBezTo>
                  <a:pt x="324349" y="323950"/>
                  <a:pt x="325051" y="319862"/>
                  <a:pt x="327750" y="317193"/>
                </a:cubicBezTo>
                <a:cubicBezTo>
                  <a:pt x="402048" y="264788"/>
                  <a:pt x="419800" y="162077"/>
                  <a:pt x="367396" y="87777"/>
                </a:cubicBezTo>
                <a:cubicBezTo>
                  <a:pt x="314994" y="13478"/>
                  <a:pt x="212280" y="-4272"/>
                  <a:pt x="137981" y="48131"/>
                </a:cubicBezTo>
                <a:cubicBezTo>
                  <a:pt x="93974" y="79169"/>
                  <a:pt x="67929" y="129768"/>
                  <a:pt x="68242" y="183619"/>
                </a:cubicBezTo>
                <a:cubicBezTo>
                  <a:pt x="68787" y="224547"/>
                  <a:pt x="84204" y="263877"/>
                  <a:pt x="111617" y="294273"/>
                </a:cubicBezTo>
                <a:lnTo>
                  <a:pt x="149323" y="226747"/>
                </a:lnTo>
                <a:cubicBezTo>
                  <a:pt x="161165" y="202043"/>
                  <a:pt x="190790" y="191617"/>
                  <a:pt x="215494" y="203458"/>
                </a:cubicBezTo>
                <a:cubicBezTo>
                  <a:pt x="240197" y="215299"/>
                  <a:pt x="250625" y="244925"/>
                  <a:pt x="238783" y="269629"/>
                </a:cubicBezTo>
                <a:cubicBezTo>
                  <a:pt x="229412" y="290150"/>
                  <a:pt x="217932" y="309644"/>
                  <a:pt x="204527" y="327790"/>
                </a:cubicBezTo>
                <a:cubicBezTo>
                  <a:pt x="195035" y="337751"/>
                  <a:pt x="181811" y="343291"/>
                  <a:pt x="168053" y="343069"/>
                </a:cubicBezTo>
                <a:cubicBezTo>
                  <a:pt x="148690" y="343128"/>
                  <a:pt x="129991" y="336019"/>
                  <a:pt x="115560" y="323107"/>
                </a:cubicBezTo>
                <a:lnTo>
                  <a:pt x="20925" y="491183"/>
                </a:lnTo>
                <a:cubicBezTo>
                  <a:pt x="13550" y="504535"/>
                  <a:pt x="17745" y="521318"/>
                  <a:pt x="30536" y="529629"/>
                </a:cubicBezTo>
                <a:cubicBezTo>
                  <a:pt x="37110" y="533843"/>
                  <a:pt x="45093" y="535262"/>
                  <a:pt x="52716" y="533572"/>
                </a:cubicBezTo>
                <a:cubicBezTo>
                  <a:pt x="60266" y="531903"/>
                  <a:pt x="66783" y="527171"/>
                  <a:pt x="70707" y="520510"/>
                </a:cubicBezTo>
                <a:lnTo>
                  <a:pt x="147598" y="393098"/>
                </a:lnTo>
                <a:cubicBezTo>
                  <a:pt x="150436" y="389103"/>
                  <a:pt x="155974" y="388166"/>
                  <a:pt x="159969" y="391003"/>
                </a:cubicBezTo>
                <a:cubicBezTo>
                  <a:pt x="163625" y="393601"/>
                  <a:pt x="164768" y="398520"/>
                  <a:pt x="162631" y="402463"/>
                </a:cubicBezTo>
                <a:lnTo>
                  <a:pt x="85740" y="529629"/>
                </a:lnTo>
                <a:cubicBezTo>
                  <a:pt x="79424" y="540391"/>
                  <a:pt x="68868" y="547994"/>
                  <a:pt x="56659" y="550576"/>
                </a:cubicBezTo>
                <a:cubicBezTo>
                  <a:pt x="53200" y="551471"/>
                  <a:pt x="49634" y="551885"/>
                  <a:pt x="46062" y="551809"/>
                </a:cubicBezTo>
                <a:close/>
                <a:moveTo>
                  <a:pt x="124186" y="307335"/>
                </a:moveTo>
                <a:cubicBezTo>
                  <a:pt x="135849" y="318632"/>
                  <a:pt x="151328" y="325140"/>
                  <a:pt x="167560" y="325572"/>
                </a:cubicBezTo>
                <a:cubicBezTo>
                  <a:pt x="176771" y="326035"/>
                  <a:pt x="185740" y="322538"/>
                  <a:pt x="192205" y="315960"/>
                </a:cubicBezTo>
                <a:cubicBezTo>
                  <a:pt x="203782" y="299271"/>
                  <a:pt x="213610" y="281433"/>
                  <a:pt x="221532" y="262728"/>
                </a:cubicBezTo>
                <a:cubicBezTo>
                  <a:pt x="227936" y="246380"/>
                  <a:pt x="219874" y="227935"/>
                  <a:pt x="203526" y="221531"/>
                </a:cubicBezTo>
                <a:cubicBezTo>
                  <a:pt x="197649" y="219229"/>
                  <a:pt x="191220" y="218729"/>
                  <a:pt x="185058" y="220093"/>
                </a:cubicBezTo>
                <a:cubicBezTo>
                  <a:pt x="176385" y="221929"/>
                  <a:pt x="168979" y="227529"/>
                  <a:pt x="164849" y="235373"/>
                </a:cubicBezTo>
                <a:close/>
              </a:path>
            </a:pathLst>
          </a:custGeom>
          <a:gradFill flip="none" rotWithShape="1">
            <a:gsLst>
              <a:gs pos="2000">
                <a:schemeClr val="accent5"/>
              </a:gs>
              <a:gs pos="99000">
                <a:schemeClr val="accent2"/>
              </a:gs>
              <a:gs pos="47000">
                <a:schemeClr val="accent1"/>
              </a:gs>
            </a:gsLst>
            <a:lin ang="8100000" scaled="1"/>
            <a:tileRect/>
          </a:gradFill>
          <a:ln w="24093" cap="flat">
            <a:noFill/>
            <a:prstDash val="solid"/>
            <a:miter/>
          </a:ln>
        </p:spPr>
        <p:txBody>
          <a:bodyPr rtlCol="0" anchor="ctr"/>
          <a:lstStyle/>
          <a:p>
            <a:pPr defTabSz="609585">
              <a:defRPr/>
            </a:pPr>
            <a:endParaRPr lang="en-GB" sz="2400" noProof="1">
              <a:solidFill>
                <a:prstClr val="black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59095147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3EEA259-C8A9-3F08-4CB4-76E79E9493A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GB" dirty="0"/>
              <a:t>DSP OG ANDRE SYSTEMER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BEAF8DB-1139-9BB6-A4A9-9D46AC2DD49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ndre </a:t>
            </a:r>
            <a:r>
              <a:rPr lang="en-US" dirty="0" err="1"/>
              <a:t>systemer</a:t>
            </a:r>
            <a:r>
              <a:rPr lang="en-US" dirty="0"/>
              <a:t>	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2F83529-786E-B27B-70CF-50F671CA6CC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09B0AF7-3924-4693-AD32-8215A0397987}" type="slidenum">
              <a:rPr lang="en-GB" smtClean="0"/>
              <a:pPr/>
              <a:t>4</a:t>
            </a:fld>
            <a:endParaRPr lang="en-GB" dirty="0"/>
          </a:p>
        </p:txBody>
      </p:sp>
      <p:sp>
        <p:nvSpPr>
          <p:cNvPr id="5" name="Freeform: Shape 4">
            <a:extLst>
              <a:ext uri="{FF2B5EF4-FFF2-40B4-BE49-F238E27FC236}">
                <a16:creationId xmlns:a16="http://schemas.microsoft.com/office/drawing/2014/main" id="{358CF1CC-DC7D-7959-DE0A-A9578234F62A}"/>
              </a:ext>
            </a:extLst>
          </p:cNvPr>
          <p:cNvSpPr/>
          <p:nvPr/>
        </p:nvSpPr>
        <p:spPr>
          <a:xfrm>
            <a:off x="4964722" y="2583139"/>
            <a:ext cx="2262557" cy="2262339"/>
          </a:xfrm>
          <a:custGeom>
            <a:avLst/>
            <a:gdLst>
              <a:gd name="connsiteX0" fmla="*/ 944321 w 1804800"/>
              <a:gd name="connsiteY0" fmla="*/ 943331 h 1804626"/>
              <a:gd name="connsiteX1" fmla="*/ 1804800 w 1804800"/>
              <a:gd name="connsiteY1" fmla="*/ 943331 h 1804626"/>
              <a:gd name="connsiteX2" fmla="*/ 1794773 w 1804800"/>
              <a:gd name="connsiteY2" fmla="*/ 1042796 h 1804626"/>
              <a:gd name="connsiteX3" fmla="*/ 1042878 w 1804800"/>
              <a:gd name="connsiteY3" fmla="*/ 1794691 h 1804626"/>
              <a:gd name="connsiteX4" fmla="*/ 944321 w 1804800"/>
              <a:gd name="connsiteY4" fmla="*/ 1804626 h 1804626"/>
              <a:gd name="connsiteX5" fmla="*/ 0 w 1804800"/>
              <a:gd name="connsiteY5" fmla="*/ 943331 h 1804626"/>
              <a:gd name="connsiteX6" fmla="*/ 860483 w 1804800"/>
              <a:gd name="connsiteY6" fmla="*/ 943331 h 1804626"/>
              <a:gd name="connsiteX7" fmla="*/ 860483 w 1804800"/>
              <a:gd name="connsiteY7" fmla="*/ 1804626 h 1804626"/>
              <a:gd name="connsiteX8" fmla="*/ 761923 w 1804800"/>
              <a:gd name="connsiteY8" fmla="*/ 1794690 h 1804626"/>
              <a:gd name="connsiteX9" fmla="*/ 10027 w 1804800"/>
              <a:gd name="connsiteY9" fmla="*/ 1042795 h 1804626"/>
              <a:gd name="connsiteX10" fmla="*/ 944317 w 1804800"/>
              <a:gd name="connsiteY10" fmla="*/ 0 h 1804626"/>
              <a:gd name="connsiteX11" fmla="*/ 1042875 w 1804800"/>
              <a:gd name="connsiteY11" fmla="*/ 9935 h 1804626"/>
              <a:gd name="connsiteX12" fmla="*/ 1794773 w 1804800"/>
              <a:gd name="connsiteY12" fmla="*/ 761832 h 1804626"/>
              <a:gd name="connsiteX13" fmla="*/ 1804800 w 1804800"/>
              <a:gd name="connsiteY13" fmla="*/ 861295 h 1804626"/>
              <a:gd name="connsiteX14" fmla="*/ 944317 w 1804800"/>
              <a:gd name="connsiteY14" fmla="*/ 861295 h 1804626"/>
              <a:gd name="connsiteX15" fmla="*/ 860483 w 1804800"/>
              <a:gd name="connsiteY15" fmla="*/ 0 h 1804626"/>
              <a:gd name="connsiteX16" fmla="*/ 860483 w 1804800"/>
              <a:gd name="connsiteY16" fmla="*/ 861291 h 1804626"/>
              <a:gd name="connsiteX17" fmla="*/ 0 w 1804800"/>
              <a:gd name="connsiteY17" fmla="*/ 861291 h 1804626"/>
              <a:gd name="connsiteX18" fmla="*/ 10027 w 1804800"/>
              <a:gd name="connsiteY18" fmla="*/ 761829 h 1804626"/>
              <a:gd name="connsiteX19" fmla="*/ 761923 w 1804800"/>
              <a:gd name="connsiteY19" fmla="*/ 9935 h 18046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804800" h="1804626">
                <a:moveTo>
                  <a:pt x="944321" y="943331"/>
                </a:moveTo>
                <a:lnTo>
                  <a:pt x="1804800" y="943331"/>
                </a:lnTo>
                <a:lnTo>
                  <a:pt x="1794773" y="1042796"/>
                </a:lnTo>
                <a:cubicBezTo>
                  <a:pt x="1717546" y="1420204"/>
                  <a:pt x="1420286" y="1717462"/>
                  <a:pt x="1042878" y="1794691"/>
                </a:cubicBezTo>
                <a:lnTo>
                  <a:pt x="944321" y="1804626"/>
                </a:lnTo>
                <a:close/>
                <a:moveTo>
                  <a:pt x="0" y="943331"/>
                </a:moveTo>
                <a:lnTo>
                  <a:pt x="860483" y="943331"/>
                </a:lnTo>
                <a:lnTo>
                  <a:pt x="860483" y="1804626"/>
                </a:lnTo>
                <a:lnTo>
                  <a:pt x="761923" y="1794690"/>
                </a:lnTo>
                <a:cubicBezTo>
                  <a:pt x="384516" y="1717460"/>
                  <a:pt x="87257" y="1420203"/>
                  <a:pt x="10027" y="1042795"/>
                </a:cubicBezTo>
                <a:close/>
                <a:moveTo>
                  <a:pt x="944317" y="0"/>
                </a:moveTo>
                <a:lnTo>
                  <a:pt x="1042875" y="9935"/>
                </a:lnTo>
                <a:cubicBezTo>
                  <a:pt x="1420285" y="87165"/>
                  <a:pt x="1717545" y="384425"/>
                  <a:pt x="1794773" y="761832"/>
                </a:cubicBezTo>
                <a:lnTo>
                  <a:pt x="1804800" y="861295"/>
                </a:lnTo>
                <a:lnTo>
                  <a:pt x="944317" y="861295"/>
                </a:lnTo>
                <a:close/>
                <a:moveTo>
                  <a:pt x="860483" y="0"/>
                </a:moveTo>
                <a:lnTo>
                  <a:pt x="860483" y="861291"/>
                </a:lnTo>
                <a:lnTo>
                  <a:pt x="0" y="861291"/>
                </a:lnTo>
                <a:lnTo>
                  <a:pt x="10027" y="761829"/>
                </a:lnTo>
                <a:cubicBezTo>
                  <a:pt x="87257" y="384423"/>
                  <a:pt x="384516" y="87164"/>
                  <a:pt x="761923" y="9935"/>
                </a:cubicBezTo>
                <a:close/>
              </a:path>
            </a:pathLst>
          </a:custGeom>
          <a:gradFill flip="none" rotWithShape="1">
            <a:gsLst>
              <a:gs pos="0">
                <a:schemeClr val="accent5"/>
              </a:gs>
              <a:gs pos="100000">
                <a:schemeClr val="accent6"/>
              </a:gs>
            </a:gsLst>
            <a:lin ang="2700000" scaled="1"/>
            <a:tileRect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rtl="0"/>
            <a:endParaRPr lang="fr-FR" sz="2400" noProof="1"/>
          </a:p>
        </p:txBody>
      </p:sp>
      <p:sp>
        <p:nvSpPr>
          <p:cNvPr id="6" name="Freeform: Shape 5">
            <a:extLst>
              <a:ext uri="{FF2B5EF4-FFF2-40B4-BE49-F238E27FC236}">
                <a16:creationId xmlns:a16="http://schemas.microsoft.com/office/drawing/2014/main" id="{CB6611EC-1756-1DC5-029C-93B007CA9468}"/>
              </a:ext>
            </a:extLst>
          </p:cNvPr>
          <p:cNvSpPr/>
          <p:nvPr/>
        </p:nvSpPr>
        <p:spPr>
          <a:xfrm>
            <a:off x="6145487" y="2808145"/>
            <a:ext cx="857504" cy="858840"/>
          </a:xfrm>
          <a:custGeom>
            <a:avLst/>
            <a:gdLst>
              <a:gd name="connsiteX0" fmla="*/ 0 w 518682"/>
              <a:gd name="connsiteY0" fmla="*/ 0 h 519490"/>
              <a:gd name="connsiteX1" fmla="*/ 71897 w 518682"/>
              <a:gd name="connsiteY1" fmla="*/ 7248 h 519490"/>
              <a:gd name="connsiteX2" fmla="*/ 511344 w 518682"/>
              <a:gd name="connsiteY2" fmla="*/ 446694 h 519490"/>
              <a:gd name="connsiteX3" fmla="*/ 518682 w 518682"/>
              <a:gd name="connsiteY3" fmla="*/ 519490 h 519490"/>
              <a:gd name="connsiteX4" fmla="*/ 0 w 518682"/>
              <a:gd name="connsiteY4" fmla="*/ 519490 h 5194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8682" h="519490">
                <a:moveTo>
                  <a:pt x="0" y="0"/>
                </a:moveTo>
                <a:lnTo>
                  <a:pt x="71897" y="7248"/>
                </a:lnTo>
                <a:cubicBezTo>
                  <a:pt x="292474" y="52384"/>
                  <a:pt x="466207" y="226117"/>
                  <a:pt x="511344" y="446694"/>
                </a:cubicBezTo>
                <a:lnTo>
                  <a:pt x="518682" y="519490"/>
                </a:lnTo>
                <a:lnTo>
                  <a:pt x="0" y="51949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rtl="0"/>
            <a:endParaRPr lang="fr-FR" sz="2400" noProof="1"/>
          </a:p>
        </p:txBody>
      </p:sp>
      <p:sp>
        <p:nvSpPr>
          <p:cNvPr id="7" name="Freeform: Shape 6">
            <a:extLst>
              <a:ext uri="{FF2B5EF4-FFF2-40B4-BE49-F238E27FC236}">
                <a16:creationId xmlns:a16="http://schemas.microsoft.com/office/drawing/2014/main" id="{BF2B7FBD-5759-B4A5-4356-F5D49D77A1CD}"/>
              </a:ext>
            </a:extLst>
          </p:cNvPr>
          <p:cNvSpPr/>
          <p:nvPr/>
        </p:nvSpPr>
        <p:spPr>
          <a:xfrm>
            <a:off x="6145488" y="3761634"/>
            <a:ext cx="857497" cy="858837"/>
          </a:xfrm>
          <a:custGeom>
            <a:avLst/>
            <a:gdLst>
              <a:gd name="connsiteX0" fmla="*/ 0 w 518678"/>
              <a:gd name="connsiteY0" fmla="*/ 0 h 519488"/>
              <a:gd name="connsiteX1" fmla="*/ 518678 w 518678"/>
              <a:gd name="connsiteY1" fmla="*/ 0 h 519488"/>
              <a:gd name="connsiteX2" fmla="*/ 511340 w 518678"/>
              <a:gd name="connsiteY2" fmla="*/ 72794 h 519488"/>
              <a:gd name="connsiteX3" fmla="*/ 71893 w 518678"/>
              <a:gd name="connsiteY3" fmla="*/ 512241 h 519488"/>
              <a:gd name="connsiteX4" fmla="*/ 0 w 518678"/>
              <a:gd name="connsiteY4" fmla="*/ 519488 h 5194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8678" h="519488">
                <a:moveTo>
                  <a:pt x="0" y="0"/>
                </a:moveTo>
                <a:lnTo>
                  <a:pt x="518678" y="0"/>
                </a:lnTo>
                <a:lnTo>
                  <a:pt x="511340" y="72794"/>
                </a:lnTo>
                <a:cubicBezTo>
                  <a:pt x="466203" y="293371"/>
                  <a:pt x="292470" y="467104"/>
                  <a:pt x="71893" y="512241"/>
                </a:cubicBezTo>
                <a:lnTo>
                  <a:pt x="0" y="51948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rtl="0"/>
            <a:endParaRPr lang="fr-FR" sz="2400" noProof="1"/>
          </a:p>
        </p:txBody>
      </p:sp>
      <p:sp>
        <p:nvSpPr>
          <p:cNvPr id="8" name="Freeform: Shape 7">
            <a:extLst>
              <a:ext uri="{FF2B5EF4-FFF2-40B4-BE49-F238E27FC236}">
                <a16:creationId xmlns:a16="http://schemas.microsoft.com/office/drawing/2014/main" id="{BA467B67-7BE4-D1EC-A824-C484C4D6AA50}"/>
              </a:ext>
            </a:extLst>
          </p:cNvPr>
          <p:cNvSpPr/>
          <p:nvPr/>
        </p:nvSpPr>
        <p:spPr>
          <a:xfrm>
            <a:off x="5189007" y="2808149"/>
            <a:ext cx="857504" cy="858833"/>
          </a:xfrm>
          <a:custGeom>
            <a:avLst/>
            <a:gdLst>
              <a:gd name="connsiteX0" fmla="*/ 518682 w 518682"/>
              <a:gd name="connsiteY0" fmla="*/ 0 h 519486"/>
              <a:gd name="connsiteX1" fmla="*/ 518682 w 518682"/>
              <a:gd name="connsiteY1" fmla="*/ 519486 h 519486"/>
              <a:gd name="connsiteX2" fmla="*/ 0 w 518682"/>
              <a:gd name="connsiteY2" fmla="*/ 519486 h 519486"/>
              <a:gd name="connsiteX3" fmla="*/ 7339 w 518682"/>
              <a:gd name="connsiteY3" fmla="*/ 446694 h 519486"/>
              <a:gd name="connsiteX4" fmla="*/ 446786 w 518682"/>
              <a:gd name="connsiteY4" fmla="*/ 7248 h 5194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8682" h="519486">
                <a:moveTo>
                  <a:pt x="518682" y="0"/>
                </a:moveTo>
                <a:lnTo>
                  <a:pt x="518682" y="519486"/>
                </a:lnTo>
                <a:lnTo>
                  <a:pt x="0" y="519486"/>
                </a:lnTo>
                <a:lnTo>
                  <a:pt x="7339" y="446694"/>
                </a:lnTo>
                <a:cubicBezTo>
                  <a:pt x="52475" y="226117"/>
                  <a:pt x="226209" y="52384"/>
                  <a:pt x="446786" y="7248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rtl="0"/>
            <a:endParaRPr lang="fr-FR" sz="2400" noProof="1"/>
          </a:p>
        </p:txBody>
      </p:sp>
      <p:sp>
        <p:nvSpPr>
          <p:cNvPr id="9" name="Freeform: Shape 8">
            <a:extLst>
              <a:ext uri="{FF2B5EF4-FFF2-40B4-BE49-F238E27FC236}">
                <a16:creationId xmlns:a16="http://schemas.microsoft.com/office/drawing/2014/main" id="{A42BD330-7009-3168-D8D6-A81C8220EE40}"/>
              </a:ext>
            </a:extLst>
          </p:cNvPr>
          <p:cNvSpPr/>
          <p:nvPr/>
        </p:nvSpPr>
        <p:spPr>
          <a:xfrm>
            <a:off x="5189007" y="3761630"/>
            <a:ext cx="857504" cy="858839"/>
          </a:xfrm>
          <a:custGeom>
            <a:avLst/>
            <a:gdLst>
              <a:gd name="connsiteX0" fmla="*/ 0 w 518682"/>
              <a:gd name="connsiteY0" fmla="*/ 0 h 519489"/>
              <a:gd name="connsiteX1" fmla="*/ 518682 w 518682"/>
              <a:gd name="connsiteY1" fmla="*/ 0 h 519489"/>
              <a:gd name="connsiteX2" fmla="*/ 518682 w 518682"/>
              <a:gd name="connsiteY2" fmla="*/ 519489 h 519489"/>
              <a:gd name="connsiteX3" fmla="*/ 446786 w 518682"/>
              <a:gd name="connsiteY3" fmla="*/ 512241 h 519489"/>
              <a:gd name="connsiteX4" fmla="*/ 7339 w 518682"/>
              <a:gd name="connsiteY4" fmla="*/ 72794 h 5194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8682" h="519489">
                <a:moveTo>
                  <a:pt x="0" y="0"/>
                </a:moveTo>
                <a:lnTo>
                  <a:pt x="518682" y="0"/>
                </a:lnTo>
                <a:lnTo>
                  <a:pt x="518682" y="519489"/>
                </a:lnTo>
                <a:lnTo>
                  <a:pt x="446786" y="512241"/>
                </a:lnTo>
                <a:cubicBezTo>
                  <a:pt x="226209" y="467104"/>
                  <a:pt x="52475" y="293371"/>
                  <a:pt x="7339" y="72794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rtl="0"/>
            <a:endParaRPr lang="fr-FR" sz="2400" noProof="1"/>
          </a:p>
        </p:txBody>
      </p:sp>
      <p:sp>
        <p:nvSpPr>
          <p:cNvPr id="10" name="Picture Placeholder 100">
            <a:extLst>
              <a:ext uri="{FF2B5EF4-FFF2-40B4-BE49-F238E27FC236}">
                <a16:creationId xmlns:a16="http://schemas.microsoft.com/office/drawing/2014/main" id="{EE33D484-71F7-CB24-89E9-F3E1C3852431}"/>
              </a:ext>
            </a:extLst>
          </p:cNvPr>
          <p:cNvSpPr>
            <a:spLocks noChangeAspect="1"/>
          </p:cNvSpPr>
          <p:nvPr/>
        </p:nvSpPr>
        <p:spPr>
          <a:xfrm>
            <a:off x="6297163" y="3092253"/>
            <a:ext cx="384000" cy="392305"/>
          </a:xfrm>
          <a:custGeom>
            <a:avLst/>
            <a:gdLst>
              <a:gd name="connsiteX0" fmla="*/ 351731 w 389257"/>
              <a:gd name="connsiteY0" fmla="*/ 159430 h 366703"/>
              <a:gd name="connsiteX1" fmla="*/ 284947 w 389257"/>
              <a:gd name="connsiteY1" fmla="*/ 146074 h 366703"/>
              <a:gd name="connsiteX2" fmla="*/ 284947 w 389257"/>
              <a:gd name="connsiteY2" fmla="*/ 60259 h 366703"/>
              <a:gd name="connsiteX3" fmla="*/ 261363 w 389257"/>
              <a:gd name="connsiteY3" fmla="*/ 22096 h 366703"/>
              <a:gd name="connsiteX4" fmla="*/ 218977 w 389257"/>
              <a:gd name="connsiteY4" fmla="*/ 903 h 366703"/>
              <a:gd name="connsiteX5" fmla="*/ 218544 w 389257"/>
              <a:gd name="connsiteY5" fmla="*/ 725 h 366703"/>
              <a:gd name="connsiteX6" fmla="*/ 217857 w 389257"/>
              <a:gd name="connsiteY6" fmla="*/ 471 h 366703"/>
              <a:gd name="connsiteX7" fmla="*/ 216611 w 389257"/>
              <a:gd name="connsiteY7" fmla="*/ 140 h 366703"/>
              <a:gd name="connsiteX8" fmla="*/ 215924 w 389257"/>
              <a:gd name="connsiteY8" fmla="*/ 38 h 366703"/>
              <a:gd name="connsiteX9" fmla="*/ 214499 w 389257"/>
              <a:gd name="connsiteY9" fmla="*/ 38 h 366703"/>
              <a:gd name="connsiteX10" fmla="*/ 213965 w 389257"/>
              <a:gd name="connsiteY10" fmla="*/ 38 h 366703"/>
              <a:gd name="connsiteX11" fmla="*/ 212057 w 389257"/>
              <a:gd name="connsiteY11" fmla="*/ 471 h 366703"/>
              <a:gd name="connsiteX12" fmla="*/ 211980 w 389257"/>
              <a:gd name="connsiteY12" fmla="*/ 471 h 366703"/>
              <a:gd name="connsiteX13" fmla="*/ 140743 w 389257"/>
              <a:gd name="connsiteY13" fmla="*/ 25912 h 366703"/>
              <a:gd name="connsiteX14" fmla="*/ 134841 w 389257"/>
              <a:gd name="connsiteY14" fmla="*/ 34308 h 366703"/>
              <a:gd name="connsiteX15" fmla="*/ 134841 w 389257"/>
              <a:gd name="connsiteY15" fmla="*/ 115722 h 366703"/>
              <a:gd name="connsiteX16" fmla="*/ 143746 w 389257"/>
              <a:gd name="connsiteY16" fmla="*/ 124626 h 366703"/>
              <a:gd name="connsiteX17" fmla="*/ 152650 w 389257"/>
              <a:gd name="connsiteY17" fmla="*/ 115722 h 366703"/>
              <a:gd name="connsiteX18" fmla="*/ 152650 w 389257"/>
              <a:gd name="connsiteY18" fmla="*/ 40567 h 366703"/>
              <a:gd name="connsiteX19" fmla="*/ 206078 w 389257"/>
              <a:gd name="connsiteY19" fmla="*/ 21486 h 366703"/>
              <a:gd name="connsiteX20" fmla="*/ 206078 w 389257"/>
              <a:gd name="connsiteY20" fmla="*/ 134014 h 366703"/>
              <a:gd name="connsiteX21" fmla="*/ 31497 w 389257"/>
              <a:gd name="connsiteY21" fmla="*/ 172813 h 366703"/>
              <a:gd name="connsiteX22" fmla="*/ 0 w 389257"/>
              <a:gd name="connsiteY22" fmla="*/ 212095 h 366703"/>
              <a:gd name="connsiteX23" fmla="*/ 0 w 389257"/>
              <a:gd name="connsiteY23" fmla="*/ 290939 h 366703"/>
              <a:gd name="connsiteX24" fmla="*/ 26994 w 389257"/>
              <a:gd name="connsiteY24" fmla="*/ 325005 h 366703"/>
              <a:gd name="connsiteX25" fmla="*/ 196944 w 389257"/>
              <a:gd name="connsiteY25" fmla="*/ 364872 h 366703"/>
              <a:gd name="connsiteX26" fmla="*/ 212820 w 389257"/>
              <a:gd name="connsiteY26" fmla="*/ 366704 h 366703"/>
              <a:gd name="connsiteX27" fmla="*/ 233275 w 389257"/>
              <a:gd name="connsiteY27" fmla="*/ 363625 h 366703"/>
              <a:gd name="connsiteX28" fmla="*/ 280215 w 389257"/>
              <a:gd name="connsiteY28" fmla="*/ 349175 h 366703"/>
              <a:gd name="connsiteX29" fmla="*/ 286117 w 389257"/>
              <a:gd name="connsiteY29" fmla="*/ 338031 h 366703"/>
              <a:gd name="connsiteX30" fmla="*/ 274974 w 389257"/>
              <a:gd name="connsiteY30" fmla="*/ 332129 h 366703"/>
              <a:gd name="connsiteX31" fmla="*/ 228034 w 389257"/>
              <a:gd name="connsiteY31" fmla="*/ 346580 h 366703"/>
              <a:gd name="connsiteX32" fmla="*/ 201015 w 389257"/>
              <a:gd name="connsiteY32" fmla="*/ 347495 h 366703"/>
              <a:gd name="connsiteX33" fmla="*/ 68693 w 389257"/>
              <a:gd name="connsiteY33" fmla="*/ 316457 h 366703"/>
              <a:gd name="connsiteX34" fmla="*/ 68693 w 389257"/>
              <a:gd name="connsiteY34" fmla="*/ 282314 h 366703"/>
              <a:gd name="connsiteX35" fmla="*/ 206078 w 389257"/>
              <a:gd name="connsiteY35" fmla="*/ 294729 h 366703"/>
              <a:gd name="connsiteX36" fmla="*/ 206078 w 389257"/>
              <a:gd name="connsiteY36" fmla="*/ 321748 h 366703"/>
              <a:gd name="connsiteX37" fmla="*/ 214982 w 389257"/>
              <a:gd name="connsiteY37" fmla="*/ 330653 h 366703"/>
              <a:gd name="connsiteX38" fmla="*/ 223887 w 389257"/>
              <a:gd name="connsiteY38" fmla="*/ 321748 h 366703"/>
              <a:gd name="connsiteX39" fmla="*/ 223887 w 389257"/>
              <a:gd name="connsiteY39" fmla="*/ 151976 h 366703"/>
              <a:gd name="connsiteX40" fmla="*/ 348246 w 389257"/>
              <a:gd name="connsiteY40" fmla="*/ 176833 h 366703"/>
              <a:gd name="connsiteX41" fmla="*/ 371449 w 389257"/>
              <a:gd name="connsiteY41" fmla="*/ 205149 h 366703"/>
              <a:gd name="connsiteX42" fmla="*/ 371449 w 389257"/>
              <a:gd name="connsiteY42" fmla="*/ 294882 h 366703"/>
              <a:gd name="connsiteX43" fmla="*/ 364223 w 389257"/>
              <a:gd name="connsiteY43" fmla="*/ 304652 h 366703"/>
              <a:gd name="connsiteX44" fmla="*/ 348017 w 389257"/>
              <a:gd name="connsiteY44" fmla="*/ 309638 h 366703"/>
              <a:gd name="connsiteX45" fmla="*/ 342114 w 389257"/>
              <a:gd name="connsiteY45" fmla="*/ 320782 h 366703"/>
              <a:gd name="connsiteX46" fmla="*/ 353258 w 389257"/>
              <a:gd name="connsiteY46" fmla="*/ 326684 h 366703"/>
              <a:gd name="connsiteX47" fmla="*/ 369464 w 389257"/>
              <a:gd name="connsiteY47" fmla="*/ 321698 h 366703"/>
              <a:gd name="connsiteX48" fmla="*/ 389258 w 389257"/>
              <a:gd name="connsiteY48" fmla="*/ 294882 h 366703"/>
              <a:gd name="connsiteX49" fmla="*/ 389258 w 389257"/>
              <a:gd name="connsiteY49" fmla="*/ 205149 h 366703"/>
              <a:gd name="connsiteX50" fmla="*/ 351731 w 389257"/>
              <a:gd name="connsiteY50" fmla="*/ 159379 h 366703"/>
              <a:gd name="connsiteX51" fmla="*/ 351731 w 389257"/>
              <a:gd name="connsiteY51" fmla="*/ 159430 h 366703"/>
              <a:gd name="connsiteX52" fmla="*/ 17809 w 389257"/>
              <a:gd name="connsiteY52" fmla="*/ 212095 h 366703"/>
              <a:gd name="connsiteX53" fmla="*/ 35364 w 389257"/>
              <a:gd name="connsiteY53" fmla="*/ 190215 h 366703"/>
              <a:gd name="connsiteX54" fmla="*/ 96678 w 389257"/>
              <a:gd name="connsiteY54" fmla="*/ 176604 h 366703"/>
              <a:gd name="connsiteX55" fmla="*/ 96678 w 389257"/>
              <a:gd name="connsiteY55" fmla="*/ 211230 h 366703"/>
              <a:gd name="connsiteX56" fmla="*/ 17809 w 389257"/>
              <a:gd name="connsiteY56" fmla="*/ 220669 h 366703"/>
              <a:gd name="connsiteX57" fmla="*/ 17809 w 389257"/>
              <a:gd name="connsiteY57" fmla="*/ 212120 h 366703"/>
              <a:gd name="connsiteX58" fmla="*/ 17809 w 389257"/>
              <a:gd name="connsiteY58" fmla="*/ 212120 h 366703"/>
              <a:gd name="connsiteX59" fmla="*/ 206078 w 389257"/>
              <a:gd name="connsiteY59" fmla="*/ 276895 h 366703"/>
              <a:gd name="connsiteX60" fmla="*/ 68693 w 389257"/>
              <a:gd name="connsiteY60" fmla="*/ 264479 h 366703"/>
              <a:gd name="connsiteX61" fmla="*/ 68693 w 389257"/>
              <a:gd name="connsiteY61" fmla="*/ 255651 h 366703"/>
              <a:gd name="connsiteX62" fmla="*/ 59788 w 389257"/>
              <a:gd name="connsiteY62" fmla="*/ 246746 h 366703"/>
              <a:gd name="connsiteX63" fmla="*/ 50883 w 389257"/>
              <a:gd name="connsiteY63" fmla="*/ 255651 h 366703"/>
              <a:gd name="connsiteX64" fmla="*/ 50883 w 389257"/>
              <a:gd name="connsiteY64" fmla="*/ 312310 h 366703"/>
              <a:gd name="connsiteX65" fmla="*/ 31064 w 389257"/>
              <a:gd name="connsiteY65" fmla="*/ 307654 h 366703"/>
              <a:gd name="connsiteX66" fmla="*/ 17809 w 389257"/>
              <a:gd name="connsiteY66" fmla="*/ 290913 h 366703"/>
              <a:gd name="connsiteX67" fmla="*/ 17809 w 389257"/>
              <a:gd name="connsiteY67" fmla="*/ 238529 h 366703"/>
              <a:gd name="connsiteX68" fmla="*/ 96678 w 389257"/>
              <a:gd name="connsiteY68" fmla="*/ 229090 h 366703"/>
              <a:gd name="connsiteX69" fmla="*/ 96678 w 389257"/>
              <a:gd name="connsiteY69" fmla="*/ 237791 h 366703"/>
              <a:gd name="connsiteX70" fmla="*/ 105583 w 389257"/>
              <a:gd name="connsiteY70" fmla="*/ 246695 h 366703"/>
              <a:gd name="connsiteX71" fmla="*/ 114488 w 389257"/>
              <a:gd name="connsiteY71" fmla="*/ 237791 h 366703"/>
              <a:gd name="connsiteX72" fmla="*/ 114488 w 389257"/>
              <a:gd name="connsiteY72" fmla="*/ 226953 h 366703"/>
              <a:gd name="connsiteX73" fmla="*/ 183842 w 389257"/>
              <a:gd name="connsiteY73" fmla="*/ 218659 h 366703"/>
              <a:gd name="connsiteX74" fmla="*/ 191627 w 389257"/>
              <a:gd name="connsiteY74" fmla="*/ 208762 h 366703"/>
              <a:gd name="connsiteX75" fmla="*/ 181730 w 389257"/>
              <a:gd name="connsiteY75" fmla="*/ 200977 h 366703"/>
              <a:gd name="connsiteX76" fmla="*/ 114488 w 389257"/>
              <a:gd name="connsiteY76" fmla="*/ 209016 h 366703"/>
              <a:gd name="connsiteX77" fmla="*/ 114488 w 389257"/>
              <a:gd name="connsiteY77" fmla="*/ 172584 h 366703"/>
              <a:gd name="connsiteX78" fmla="*/ 206078 w 389257"/>
              <a:gd name="connsiteY78" fmla="*/ 152230 h 366703"/>
              <a:gd name="connsiteX79" fmla="*/ 206078 w 389257"/>
              <a:gd name="connsiteY79" fmla="*/ 276869 h 366703"/>
              <a:gd name="connsiteX80" fmla="*/ 206078 w 389257"/>
              <a:gd name="connsiteY80" fmla="*/ 276869 h 366703"/>
              <a:gd name="connsiteX81" fmla="*/ 267138 w 389257"/>
              <a:gd name="connsiteY81" fmla="*/ 142512 h 366703"/>
              <a:gd name="connsiteX82" fmla="*/ 223887 w 389257"/>
              <a:gd name="connsiteY82" fmla="*/ 133861 h 366703"/>
              <a:gd name="connsiteX83" fmla="*/ 223887 w 389257"/>
              <a:gd name="connsiteY83" fmla="*/ 23266 h 366703"/>
              <a:gd name="connsiteX84" fmla="*/ 253399 w 389257"/>
              <a:gd name="connsiteY84" fmla="*/ 38023 h 366703"/>
              <a:gd name="connsiteX85" fmla="*/ 267138 w 389257"/>
              <a:gd name="connsiteY85" fmla="*/ 60259 h 366703"/>
              <a:gd name="connsiteX86" fmla="*/ 267138 w 389257"/>
              <a:gd name="connsiteY86" fmla="*/ 142512 h 3667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</a:cxnLst>
            <a:rect l="l" t="t" r="r" b="b"/>
            <a:pathLst>
              <a:path w="389257" h="366703">
                <a:moveTo>
                  <a:pt x="351731" y="159430"/>
                </a:moveTo>
                <a:lnTo>
                  <a:pt x="284947" y="146074"/>
                </a:lnTo>
                <a:lnTo>
                  <a:pt x="284947" y="60259"/>
                </a:lnTo>
                <a:cubicBezTo>
                  <a:pt x="284947" y="43976"/>
                  <a:pt x="275915" y="29372"/>
                  <a:pt x="261363" y="22096"/>
                </a:cubicBezTo>
                <a:lnTo>
                  <a:pt x="218977" y="903"/>
                </a:lnTo>
                <a:cubicBezTo>
                  <a:pt x="218824" y="827"/>
                  <a:pt x="218671" y="801"/>
                  <a:pt x="218544" y="725"/>
                </a:cubicBezTo>
                <a:cubicBezTo>
                  <a:pt x="218315" y="623"/>
                  <a:pt x="218086" y="547"/>
                  <a:pt x="217857" y="471"/>
                </a:cubicBezTo>
                <a:cubicBezTo>
                  <a:pt x="217450" y="343"/>
                  <a:pt x="217043" y="216"/>
                  <a:pt x="216611" y="140"/>
                </a:cubicBezTo>
                <a:cubicBezTo>
                  <a:pt x="216382" y="89"/>
                  <a:pt x="216153" y="64"/>
                  <a:pt x="215924" y="38"/>
                </a:cubicBezTo>
                <a:cubicBezTo>
                  <a:pt x="215440" y="-13"/>
                  <a:pt x="214982" y="-13"/>
                  <a:pt x="214499" y="38"/>
                </a:cubicBezTo>
                <a:lnTo>
                  <a:pt x="213965" y="38"/>
                </a:lnTo>
                <a:cubicBezTo>
                  <a:pt x="213329" y="114"/>
                  <a:pt x="212693" y="267"/>
                  <a:pt x="212057" y="471"/>
                </a:cubicBezTo>
                <a:lnTo>
                  <a:pt x="211980" y="471"/>
                </a:lnTo>
                <a:lnTo>
                  <a:pt x="140743" y="25912"/>
                </a:lnTo>
                <a:cubicBezTo>
                  <a:pt x="137207" y="27184"/>
                  <a:pt x="134841" y="30543"/>
                  <a:pt x="134841" y="34308"/>
                </a:cubicBezTo>
                <a:lnTo>
                  <a:pt x="134841" y="115722"/>
                </a:lnTo>
                <a:cubicBezTo>
                  <a:pt x="134841" y="120632"/>
                  <a:pt x="138835" y="124626"/>
                  <a:pt x="143746" y="124626"/>
                </a:cubicBezTo>
                <a:cubicBezTo>
                  <a:pt x="148656" y="124626"/>
                  <a:pt x="152650" y="120632"/>
                  <a:pt x="152650" y="115722"/>
                </a:cubicBezTo>
                <a:lnTo>
                  <a:pt x="152650" y="40567"/>
                </a:lnTo>
                <a:lnTo>
                  <a:pt x="206078" y="21486"/>
                </a:lnTo>
                <a:lnTo>
                  <a:pt x="206078" y="134014"/>
                </a:lnTo>
                <a:lnTo>
                  <a:pt x="31497" y="172813"/>
                </a:lnTo>
                <a:cubicBezTo>
                  <a:pt x="12950" y="176934"/>
                  <a:pt x="0" y="193090"/>
                  <a:pt x="0" y="212095"/>
                </a:cubicBezTo>
                <a:lnTo>
                  <a:pt x="0" y="290939"/>
                </a:lnTo>
                <a:cubicBezTo>
                  <a:pt x="0" y="307272"/>
                  <a:pt x="11093" y="321290"/>
                  <a:pt x="26994" y="325005"/>
                </a:cubicBezTo>
                <a:lnTo>
                  <a:pt x="196944" y="364872"/>
                </a:lnTo>
                <a:cubicBezTo>
                  <a:pt x="202160" y="366093"/>
                  <a:pt x="207502" y="366704"/>
                  <a:pt x="212820" y="366704"/>
                </a:cubicBezTo>
                <a:cubicBezTo>
                  <a:pt x="219714" y="366704"/>
                  <a:pt x="226635" y="365686"/>
                  <a:pt x="233275" y="363625"/>
                </a:cubicBezTo>
                <a:lnTo>
                  <a:pt x="280215" y="349175"/>
                </a:lnTo>
                <a:cubicBezTo>
                  <a:pt x="284922" y="347724"/>
                  <a:pt x="287567" y="342738"/>
                  <a:pt x="286117" y="338031"/>
                </a:cubicBezTo>
                <a:cubicBezTo>
                  <a:pt x="284667" y="333324"/>
                  <a:pt x="279681" y="330678"/>
                  <a:pt x="274974" y="332129"/>
                </a:cubicBezTo>
                <a:lnTo>
                  <a:pt x="228034" y="346580"/>
                </a:lnTo>
                <a:cubicBezTo>
                  <a:pt x="219257" y="349276"/>
                  <a:pt x="209919" y="349582"/>
                  <a:pt x="201015" y="347495"/>
                </a:cubicBezTo>
                <a:lnTo>
                  <a:pt x="68693" y="316457"/>
                </a:lnTo>
                <a:lnTo>
                  <a:pt x="68693" y="282314"/>
                </a:lnTo>
                <a:lnTo>
                  <a:pt x="206078" y="294729"/>
                </a:lnTo>
                <a:lnTo>
                  <a:pt x="206078" y="321748"/>
                </a:lnTo>
                <a:cubicBezTo>
                  <a:pt x="206078" y="326659"/>
                  <a:pt x="210072" y="330653"/>
                  <a:pt x="214982" y="330653"/>
                </a:cubicBezTo>
                <a:cubicBezTo>
                  <a:pt x="219893" y="330653"/>
                  <a:pt x="223887" y="326659"/>
                  <a:pt x="223887" y="321748"/>
                </a:cubicBezTo>
                <a:lnTo>
                  <a:pt x="223887" y="151976"/>
                </a:lnTo>
                <a:lnTo>
                  <a:pt x="348246" y="176833"/>
                </a:lnTo>
                <a:cubicBezTo>
                  <a:pt x="361679" y="179529"/>
                  <a:pt x="371449" y="191436"/>
                  <a:pt x="371449" y="205149"/>
                </a:cubicBezTo>
                <a:lnTo>
                  <a:pt x="371449" y="294882"/>
                </a:lnTo>
                <a:cubicBezTo>
                  <a:pt x="371449" y="299411"/>
                  <a:pt x="368548" y="303329"/>
                  <a:pt x="364223" y="304652"/>
                </a:cubicBezTo>
                <a:lnTo>
                  <a:pt x="348017" y="309638"/>
                </a:lnTo>
                <a:cubicBezTo>
                  <a:pt x="343310" y="311088"/>
                  <a:pt x="340664" y="316075"/>
                  <a:pt x="342114" y="320782"/>
                </a:cubicBezTo>
                <a:cubicBezTo>
                  <a:pt x="343565" y="325488"/>
                  <a:pt x="348551" y="328109"/>
                  <a:pt x="353258" y="326684"/>
                </a:cubicBezTo>
                <a:lnTo>
                  <a:pt x="369464" y="321698"/>
                </a:lnTo>
                <a:cubicBezTo>
                  <a:pt x="381295" y="318059"/>
                  <a:pt x="389258" y="307272"/>
                  <a:pt x="389258" y="294882"/>
                </a:cubicBezTo>
                <a:lnTo>
                  <a:pt x="389258" y="205149"/>
                </a:lnTo>
                <a:cubicBezTo>
                  <a:pt x="389258" y="182989"/>
                  <a:pt x="373484" y="163730"/>
                  <a:pt x="351731" y="159379"/>
                </a:cubicBezTo>
                <a:lnTo>
                  <a:pt x="351731" y="159430"/>
                </a:lnTo>
                <a:close/>
                <a:moveTo>
                  <a:pt x="17809" y="212095"/>
                </a:moveTo>
                <a:cubicBezTo>
                  <a:pt x="17809" y="201511"/>
                  <a:pt x="25035" y="192505"/>
                  <a:pt x="35364" y="190215"/>
                </a:cubicBezTo>
                <a:lnTo>
                  <a:pt x="96678" y="176604"/>
                </a:lnTo>
                <a:lnTo>
                  <a:pt x="96678" y="211230"/>
                </a:lnTo>
                <a:lnTo>
                  <a:pt x="17809" y="220669"/>
                </a:lnTo>
                <a:lnTo>
                  <a:pt x="17809" y="212120"/>
                </a:lnTo>
                <a:lnTo>
                  <a:pt x="17809" y="212120"/>
                </a:lnTo>
                <a:close/>
                <a:moveTo>
                  <a:pt x="206078" y="276895"/>
                </a:moveTo>
                <a:lnTo>
                  <a:pt x="68693" y="264479"/>
                </a:lnTo>
                <a:lnTo>
                  <a:pt x="68693" y="255651"/>
                </a:lnTo>
                <a:cubicBezTo>
                  <a:pt x="68693" y="250741"/>
                  <a:pt x="64698" y="246746"/>
                  <a:pt x="59788" y="246746"/>
                </a:cubicBezTo>
                <a:cubicBezTo>
                  <a:pt x="54878" y="246746"/>
                  <a:pt x="50883" y="250741"/>
                  <a:pt x="50883" y="255651"/>
                </a:cubicBezTo>
                <a:lnTo>
                  <a:pt x="50883" y="312310"/>
                </a:lnTo>
                <a:lnTo>
                  <a:pt x="31064" y="307654"/>
                </a:lnTo>
                <a:cubicBezTo>
                  <a:pt x="23254" y="305822"/>
                  <a:pt x="17809" y="298953"/>
                  <a:pt x="17809" y="290913"/>
                </a:cubicBezTo>
                <a:lnTo>
                  <a:pt x="17809" y="238529"/>
                </a:lnTo>
                <a:lnTo>
                  <a:pt x="96678" y="229090"/>
                </a:lnTo>
                <a:lnTo>
                  <a:pt x="96678" y="237791"/>
                </a:lnTo>
                <a:cubicBezTo>
                  <a:pt x="96678" y="242701"/>
                  <a:pt x="100673" y="246695"/>
                  <a:pt x="105583" y="246695"/>
                </a:cubicBezTo>
                <a:cubicBezTo>
                  <a:pt x="110493" y="246695"/>
                  <a:pt x="114488" y="242701"/>
                  <a:pt x="114488" y="237791"/>
                </a:cubicBezTo>
                <a:lnTo>
                  <a:pt x="114488" y="226953"/>
                </a:lnTo>
                <a:lnTo>
                  <a:pt x="183842" y="218659"/>
                </a:lnTo>
                <a:cubicBezTo>
                  <a:pt x="188727" y="218074"/>
                  <a:pt x="192212" y="213647"/>
                  <a:pt x="191627" y="208762"/>
                </a:cubicBezTo>
                <a:cubicBezTo>
                  <a:pt x="191042" y="203877"/>
                  <a:pt x="186615" y="200417"/>
                  <a:pt x="181730" y="200977"/>
                </a:cubicBezTo>
                <a:lnTo>
                  <a:pt x="114488" y="209016"/>
                </a:lnTo>
                <a:lnTo>
                  <a:pt x="114488" y="172584"/>
                </a:lnTo>
                <a:lnTo>
                  <a:pt x="206078" y="152230"/>
                </a:lnTo>
                <a:lnTo>
                  <a:pt x="206078" y="276869"/>
                </a:lnTo>
                <a:lnTo>
                  <a:pt x="206078" y="276869"/>
                </a:lnTo>
                <a:close/>
                <a:moveTo>
                  <a:pt x="267138" y="142512"/>
                </a:moveTo>
                <a:lnTo>
                  <a:pt x="223887" y="133861"/>
                </a:lnTo>
                <a:lnTo>
                  <a:pt x="223887" y="23266"/>
                </a:lnTo>
                <a:lnTo>
                  <a:pt x="253399" y="38023"/>
                </a:lnTo>
                <a:cubicBezTo>
                  <a:pt x="261871" y="42271"/>
                  <a:pt x="267138" y="50794"/>
                  <a:pt x="267138" y="60259"/>
                </a:cubicBezTo>
                <a:lnTo>
                  <a:pt x="267138" y="142512"/>
                </a:lnTo>
                <a:close/>
              </a:path>
            </a:pathLst>
          </a:custGeom>
          <a:gradFill>
            <a:gsLst>
              <a:gs pos="0">
                <a:schemeClr val="accent5"/>
              </a:gs>
              <a:gs pos="100000">
                <a:schemeClr val="accent6"/>
              </a:gs>
            </a:gsLst>
            <a:lin ang="16200000" scaled="1"/>
          </a:gradFill>
          <a:ln w="2524" cap="flat">
            <a:noFill/>
            <a:prstDash val="solid"/>
            <a:miter/>
          </a:ln>
        </p:spPr>
        <p:txBody>
          <a:bodyPr rtlCol="0" anchor="ctr"/>
          <a:lstStyle/>
          <a:p>
            <a:endParaRPr lang="fr-FR" sz="2400" dirty="0"/>
          </a:p>
        </p:txBody>
      </p:sp>
      <p:sp>
        <p:nvSpPr>
          <p:cNvPr id="11" name="Picture Placeholder 100">
            <a:extLst>
              <a:ext uri="{FF2B5EF4-FFF2-40B4-BE49-F238E27FC236}">
                <a16:creationId xmlns:a16="http://schemas.microsoft.com/office/drawing/2014/main" id="{75E94928-1C6A-6719-DAE2-5BF3501F3DDA}"/>
              </a:ext>
            </a:extLst>
          </p:cNvPr>
          <p:cNvSpPr>
            <a:spLocks noChangeAspect="1"/>
          </p:cNvSpPr>
          <p:nvPr/>
        </p:nvSpPr>
        <p:spPr>
          <a:xfrm>
            <a:off x="5462834" y="3865849"/>
            <a:ext cx="383999" cy="384000"/>
          </a:xfrm>
          <a:custGeom>
            <a:avLst/>
            <a:gdLst>
              <a:gd name="connsiteX0" fmla="*/ 258368 w 351764"/>
              <a:gd name="connsiteY0" fmla="*/ 197716 h 382772"/>
              <a:gd name="connsiteX1" fmla="*/ 258113 w 351764"/>
              <a:gd name="connsiteY1" fmla="*/ 197640 h 382772"/>
              <a:gd name="connsiteX2" fmla="*/ 247733 w 351764"/>
              <a:gd name="connsiteY2" fmla="*/ 201634 h 382772"/>
              <a:gd name="connsiteX3" fmla="*/ 222520 w 351764"/>
              <a:gd name="connsiteY3" fmla="*/ 244681 h 382772"/>
              <a:gd name="connsiteX4" fmla="*/ 198605 w 351764"/>
              <a:gd name="connsiteY4" fmla="*/ 203822 h 382772"/>
              <a:gd name="connsiteX5" fmla="*/ 180491 w 351764"/>
              <a:gd name="connsiteY5" fmla="*/ 157136 h 382772"/>
              <a:gd name="connsiteX6" fmla="*/ 165073 w 351764"/>
              <a:gd name="connsiteY6" fmla="*/ 118796 h 382772"/>
              <a:gd name="connsiteX7" fmla="*/ 166269 w 351764"/>
              <a:gd name="connsiteY7" fmla="*/ 107372 h 382772"/>
              <a:gd name="connsiteX8" fmla="*/ 209036 w 351764"/>
              <a:gd name="connsiteY8" fmla="*/ 107372 h 382772"/>
              <a:gd name="connsiteX9" fmla="*/ 217941 w 351764"/>
              <a:gd name="connsiteY9" fmla="*/ 98468 h 382772"/>
              <a:gd name="connsiteX10" fmla="*/ 209036 w 351764"/>
              <a:gd name="connsiteY10" fmla="*/ 89563 h 382772"/>
              <a:gd name="connsiteX11" fmla="*/ 155609 w 351764"/>
              <a:gd name="connsiteY11" fmla="*/ 89563 h 382772"/>
              <a:gd name="connsiteX12" fmla="*/ 174105 w 351764"/>
              <a:gd name="connsiteY12" fmla="*/ 45676 h 382772"/>
              <a:gd name="connsiteX13" fmla="*/ 192855 w 351764"/>
              <a:gd name="connsiteY13" fmla="*/ 33922 h 382772"/>
              <a:gd name="connsiteX14" fmla="*/ 194840 w 351764"/>
              <a:gd name="connsiteY14" fmla="*/ 40970 h 382772"/>
              <a:gd name="connsiteX15" fmla="*/ 203414 w 351764"/>
              <a:gd name="connsiteY15" fmla="*/ 47483 h 382772"/>
              <a:gd name="connsiteX16" fmla="*/ 205831 w 351764"/>
              <a:gd name="connsiteY16" fmla="*/ 47152 h 382772"/>
              <a:gd name="connsiteX17" fmla="*/ 211988 w 351764"/>
              <a:gd name="connsiteY17" fmla="*/ 36161 h 382772"/>
              <a:gd name="connsiteX18" fmla="*/ 207459 w 351764"/>
              <a:gd name="connsiteY18" fmla="*/ 20031 h 382772"/>
              <a:gd name="connsiteX19" fmla="*/ 232926 w 351764"/>
              <a:gd name="connsiteY19" fmla="*/ 18988 h 382772"/>
              <a:gd name="connsiteX20" fmla="*/ 228372 w 351764"/>
              <a:gd name="connsiteY20" fmla="*/ 36314 h 382772"/>
              <a:gd name="connsiteX21" fmla="*/ 234732 w 351764"/>
              <a:gd name="connsiteY21" fmla="*/ 47203 h 382772"/>
              <a:gd name="connsiteX22" fmla="*/ 245596 w 351764"/>
              <a:gd name="connsiteY22" fmla="*/ 40842 h 382772"/>
              <a:gd name="connsiteX23" fmla="*/ 247428 w 351764"/>
              <a:gd name="connsiteY23" fmla="*/ 33820 h 382772"/>
              <a:gd name="connsiteX24" fmla="*/ 266280 w 351764"/>
              <a:gd name="connsiteY24" fmla="*/ 45676 h 382772"/>
              <a:gd name="connsiteX25" fmla="*/ 284776 w 351764"/>
              <a:gd name="connsiteY25" fmla="*/ 89563 h 382772"/>
              <a:gd name="connsiteX26" fmla="*/ 263329 w 351764"/>
              <a:gd name="connsiteY26" fmla="*/ 89563 h 382772"/>
              <a:gd name="connsiteX27" fmla="*/ 254424 w 351764"/>
              <a:gd name="connsiteY27" fmla="*/ 98468 h 382772"/>
              <a:gd name="connsiteX28" fmla="*/ 263329 w 351764"/>
              <a:gd name="connsiteY28" fmla="*/ 107372 h 382772"/>
              <a:gd name="connsiteX29" fmla="*/ 274014 w 351764"/>
              <a:gd name="connsiteY29" fmla="*/ 107372 h 382772"/>
              <a:gd name="connsiteX30" fmla="*/ 275312 w 351764"/>
              <a:gd name="connsiteY30" fmla="*/ 117676 h 382772"/>
              <a:gd name="connsiteX31" fmla="*/ 259182 w 351764"/>
              <a:gd name="connsiteY31" fmla="*/ 157798 h 382772"/>
              <a:gd name="connsiteX32" fmla="*/ 259182 w 351764"/>
              <a:gd name="connsiteY32" fmla="*/ 170391 h 382772"/>
              <a:gd name="connsiteX33" fmla="*/ 265466 w 351764"/>
              <a:gd name="connsiteY33" fmla="*/ 173012 h 382772"/>
              <a:gd name="connsiteX34" fmla="*/ 271750 w 351764"/>
              <a:gd name="connsiteY34" fmla="*/ 170391 h 382772"/>
              <a:gd name="connsiteX35" fmla="*/ 293096 w 351764"/>
              <a:gd name="connsiteY35" fmla="*/ 117320 h 382772"/>
              <a:gd name="connsiteX36" fmla="*/ 292205 w 351764"/>
              <a:gd name="connsiteY36" fmla="*/ 107372 h 382772"/>
              <a:gd name="connsiteX37" fmla="*/ 292511 w 351764"/>
              <a:gd name="connsiteY37" fmla="*/ 107372 h 382772"/>
              <a:gd name="connsiteX38" fmla="*/ 301237 w 351764"/>
              <a:gd name="connsiteY38" fmla="*/ 100249 h 382772"/>
              <a:gd name="connsiteX39" fmla="*/ 278187 w 351764"/>
              <a:gd name="connsiteY39" fmla="*/ 32472 h 382772"/>
              <a:gd name="connsiteX40" fmla="*/ 251906 w 351764"/>
              <a:gd name="connsiteY40" fmla="*/ 16546 h 382772"/>
              <a:gd name="connsiteX41" fmla="*/ 252262 w 351764"/>
              <a:gd name="connsiteY41" fmla="*/ 15197 h 382772"/>
              <a:gd name="connsiteX42" fmla="*/ 246868 w 351764"/>
              <a:gd name="connsiteY42" fmla="*/ 4639 h 382772"/>
              <a:gd name="connsiteX43" fmla="*/ 192881 w 351764"/>
              <a:gd name="connsiteY43" fmla="*/ 6572 h 382772"/>
              <a:gd name="connsiteX44" fmla="*/ 187996 w 351764"/>
              <a:gd name="connsiteY44" fmla="*/ 16698 h 382772"/>
              <a:gd name="connsiteX45" fmla="*/ 162096 w 351764"/>
              <a:gd name="connsiteY45" fmla="*/ 32472 h 382772"/>
              <a:gd name="connsiteX46" fmla="*/ 139046 w 351764"/>
              <a:gd name="connsiteY46" fmla="*/ 100249 h 382772"/>
              <a:gd name="connsiteX47" fmla="*/ 147773 w 351764"/>
              <a:gd name="connsiteY47" fmla="*/ 107372 h 382772"/>
              <a:gd name="connsiteX48" fmla="*/ 148103 w 351764"/>
              <a:gd name="connsiteY48" fmla="*/ 107372 h 382772"/>
              <a:gd name="connsiteX49" fmla="*/ 147188 w 351764"/>
              <a:gd name="connsiteY49" fmla="*/ 118796 h 382772"/>
              <a:gd name="connsiteX50" fmla="*/ 169296 w 351764"/>
              <a:gd name="connsiteY50" fmla="*/ 171027 h 382772"/>
              <a:gd name="connsiteX51" fmla="*/ 180669 w 351764"/>
              <a:gd name="connsiteY51" fmla="*/ 205196 h 382772"/>
              <a:gd name="connsiteX52" fmla="*/ 181839 w 351764"/>
              <a:gd name="connsiteY52" fmla="*/ 210513 h 382772"/>
              <a:gd name="connsiteX53" fmla="*/ 214761 w 351764"/>
              <a:gd name="connsiteY53" fmla="*/ 266790 h 382772"/>
              <a:gd name="connsiteX54" fmla="*/ 222444 w 351764"/>
              <a:gd name="connsiteY54" fmla="*/ 271191 h 382772"/>
              <a:gd name="connsiteX55" fmla="*/ 222444 w 351764"/>
              <a:gd name="connsiteY55" fmla="*/ 271191 h 382772"/>
              <a:gd name="connsiteX56" fmla="*/ 230127 w 351764"/>
              <a:gd name="connsiteY56" fmla="*/ 266790 h 382772"/>
              <a:gd name="connsiteX57" fmla="*/ 259335 w 351764"/>
              <a:gd name="connsiteY57" fmla="*/ 216924 h 382772"/>
              <a:gd name="connsiteX58" fmla="*/ 333980 w 351764"/>
              <a:gd name="connsiteY58" fmla="*/ 333066 h 382772"/>
              <a:gd name="connsiteX59" fmla="*/ 333980 w 351764"/>
              <a:gd name="connsiteY59" fmla="*/ 364995 h 382772"/>
              <a:gd name="connsiteX60" fmla="*/ 224810 w 351764"/>
              <a:gd name="connsiteY60" fmla="*/ 364995 h 382772"/>
              <a:gd name="connsiteX61" fmla="*/ 228118 w 351764"/>
              <a:gd name="connsiteY61" fmla="*/ 361230 h 382772"/>
              <a:gd name="connsiteX62" fmla="*/ 227914 w 351764"/>
              <a:gd name="connsiteY62" fmla="*/ 312127 h 382772"/>
              <a:gd name="connsiteX63" fmla="*/ 203236 w 351764"/>
              <a:gd name="connsiteY63" fmla="*/ 301925 h 382772"/>
              <a:gd name="connsiteX64" fmla="*/ 196163 w 351764"/>
              <a:gd name="connsiteY64" fmla="*/ 302637 h 382772"/>
              <a:gd name="connsiteX65" fmla="*/ 194077 w 351764"/>
              <a:gd name="connsiteY65" fmla="*/ 299279 h 382772"/>
              <a:gd name="connsiteX66" fmla="*/ 151131 w 351764"/>
              <a:gd name="connsiteY66" fmla="*/ 256308 h 382772"/>
              <a:gd name="connsiteX67" fmla="*/ 121822 w 351764"/>
              <a:gd name="connsiteY67" fmla="*/ 256003 h 382772"/>
              <a:gd name="connsiteX68" fmla="*/ 109966 w 351764"/>
              <a:gd name="connsiteY68" fmla="*/ 244147 h 382772"/>
              <a:gd name="connsiteX69" fmla="*/ 142379 w 351764"/>
              <a:gd name="connsiteY69" fmla="*/ 211734 h 382772"/>
              <a:gd name="connsiteX70" fmla="*/ 144974 w 351764"/>
              <a:gd name="connsiteY70" fmla="*/ 205450 h 382772"/>
              <a:gd name="connsiteX71" fmla="*/ 142379 w 351764"/>
              <a:gd name="connsiteY71" fmla="*/ 199141 h 382772"/>
              <a:gd name="connsiteX72" fmla="*/ 7614 w 351764"/>
              <a:gd name="connsiteY72" fmla="*/ 149835 h 382772"/>
              <a:gd name="connsiteX73" fmla="*/ 618 w 351764"/>
              <a:gd name="connsiteY73" fmla="*/ 157340 h 382772"/>
              <a:gd name="connsiteX74" fmla="*/ 52366 w 351764"/>
              <a:gd name="connsiteY74" fmla="*/ 289153 h 382772"/>
              <a:gd name="connsiteX75" fmla="*/ 58650 w 351764"/>
              <a:gd name="connsiteY75" fmla="*/ 291774 h 382772"/>
              <a:gd name="connsiteX76" fmla="*/ 64960 w 351764"/>
              <a:gd name="connsiteY76" fmla="*/ 289153 h 382772"/>
              <a:gd name="connsiteX77" fmla="*/ 97373 w 351764"/>
              <a:gd name="connsiteY77" fmla="*/ 256741 h 382772"/>
              <a:gd name="connsiteX78" fmla="*/ 109228 w 351764"/>
              <a:gd name="connsiteY78" fmla="*/ 268596 h 382772"/>
              <a:gd name="connsiteX79" fmla="*/ 109228 w 351764"/>
              <a:gd name="connsiteY79" fmla="*/ 297600 h 382772"/>
              <a:gd name="connsiteX80" fmla="*/ 117192 w 351764"/>
              <a:gd name="connsiteY80" fmla="*/ 307039 h 382772"/>
              <a:gd name="connsiteX81" fmla="*/ 129734 w 351764"/>
              <a:gd name="connsiteY81" fmla="*/ 308107 h 382772"/>
              <a:gd name="connsiteX82" fmla="*/ 130803 w 351764"/>
              <a:gd name="connsiteY82" fmla="*/ 295565 h 382772"/>
              <a:gd name="connsiteX83" fmla="*/ 122636 w 351764"/>
              <a:gd name="connsiteY83" fmla="*/ 285871 h 382772"/>
              <a:gd name="connsiteX84" fmla="*/ 122127 w 351764"/>
              <a:gd name="connsiteY84" fmla="*/ 285312 h 382772"/>
              <a:gd name="connsiteX85" fmla="*/ 122127 w 351764"/>
              <a:gd name="connsiteY85" fmla="*/ 280783 h 382772"/>
              <a:gd name="connsiteX86" fmla="*/ 134009 w 351764"/>
              <a:gd name="connsiteY86" fmla="*/ 268876 h 382772"/>
              <a:gd name="connsiteX87" fmla="*/ 138512 w 351764"/>
              <a:gd name="connsiteY87" fmla="*/ 268876 h 382772"/>
              <a:gd name="connsiteX88" fmla="*/ 180211 w 351764"/>
              <a:gd name="connsiteY88" fmla="*/ 310575 h 382772"/>
              <a:gd name="connsiteX89" fmla="*/ 178532 w 351764"/>
              <a:gd name="connsiteY89" fmla="*/ 312076 h 382772"/>
              <a:gd name="connsiteX90" fmla="*/ 123043 w 351764"/>
              <a:gd name="connsiteY90" fmla="*/ 367565 h 382772"/>
              <a:gd name="connsiteX91" fmla="*/ 123043 w 351764"/>
              <a:gd name="connsiteY91" fmla="*/ 380158 h 382772"/>
              <a:gd name="connsiteX92" fmla="*/ 135637 w 351764"/>
              <a:gd name="connsiteY92" fmla="*/ 380158 h 382772"/>
              <a:gd name="connsiteX93" fmla="*/ 191125 w 351764"/>
              <a:gd name="connsiteY93" fmla="*/ 324670 h 382772"/>
              <a:gd name="connsiteX94" fmla="*/ 203210 w 351764"/>
              <a:gd name="connsiteY94" fmla="*/ 319709 h 382772"/>
              <a:gd name="connsiteX95" fmla="*/ 215295 w 351764"/>
              <a:gd name="connsiteY95" fmla="*/ 324670 h 382772"/>
              <a:gd name="connsiteX96" fmla="*/ 220256 w 351764"/>
              <a:gd name="connsiteY96" fmla="*/ 336755 h 382772"/>
              <a:gd name="connsiteX97" fmla="*/ 215295 w 351764"/>
              <a:gd name="connsiteY97" fmla="*/ 348840 h 382772"/>
              <a:gd name="connsiteX98" fmla="*/ 214888 w 351764"/>
              <a:gd name="connsiteY98" fmla="*/ 349247 h 382772"/>
              <a:gd name="connsiteX99" fmla="*/ 198427 w 351764"/>
              <a:gd name="connsiteY99" fmla="*/ 367972 h 382772"/>
              <a:gd name="connsiteX100" fmla="*/ 197002 w 351764"/>
              <a:gd name="connsiteY100" fmla="*/ 377512 h 382772"/>
              <a:gd name="connsiteX101" fmla="*/ 205118 w 351764"/>
              <a:gd name="connsiteY101" fmla="*/ 382753 h 382772"/>
              <a:gd name="connsiteX102" fmla="*/ 342860 w 351764"/>
              <a:gd name="connsiteY102" fmla="*/ 382753 h 382772"/>
              <a:gd name="connsiteX103" fmla="*/ 351764 w 351764"/>
              <a:gd name="connsiteY103" fmla="*/ 373849 h 382772"/>
              <a:gd name="connsiteX104" fmla="*/ 351764 w 351764"/>
              <a:gd name="connsiteY104" fmla="*/ 333015 h 382772"/>
              <a:gd name="connsiteX105" fmla="*/ 258266 w 351764"/>
              <a:gd name="connsiteY105" fmla="*/ 197665 h 382772"/>
              <a:gd name="connsiteX106" fmla="*/ 258368 w 351764"/>
              <a:gd name="connsiteY106" fmla="*/ 197716 h 382772"/>
              <a:gd name="connsiteX107" fmla="*/ 97449 w 351764"/>
              <a:gd name="connsiteY107" fmla="*/ 231579 h 382772"/>
              <a:gd name="connsiteX108" fmla="*/ 82769 w 351764"/>
              <a:gd name="connsiteY108" fmla="*/ 216899 h 382772"/>
              <a:gd name="connsiteX109" fmla="*/ 70175 w 351764"/>
              <a:gd name="connsiteY109" fmla="*/ 216899 h 382772"/>
              <a:gd name="connsiteX110" fmla="*/ 70175 w 351764"/>
              <a:gd name="connsiteY110" fmla="*/ 229493 h 382772"/>
              <a:gd name="connsiteX111" fmla="*/ 84855 w 351764"/>
              <a:gd name="connsiteY111" fmla="*/ 244172 h 382772"/>
              <a:gd name="connsiteX112" fmla="*/ 58879 w 351764"/>
              <a:gd name="connsiteY112" fmla="*/ 270123 h 382772"/>
              <a:gd name="connsiteX113" fmla="*/ 21149 w 351764"/>
              <a:gd name="connsiteY113" fmla="*/ 197792 h 382772"/>
              <a:gd name="connsiteX114" fmla="*/ 17944 w 351764"/>
              <a:gd name="connsiteY114" fmla="*/ 166473 h 382772"/>
              <a:gd name="connsiteX115" fmla="*/ 123400 w 351764"/>
              <a:gd name="connsiteY115" fmla="*/ 205628 h 382772"/>
              <a:gd name="connsiteX116" fmla="*/ 97449 w 351764"/>
              <a:gd name="connsiteY116" fmla="*/ 231579 h 382772"/>
              <a:gd name="connsiteX117" fmla="*/ 97449 w 351764"/>
              <a:gd name="connsiteY117" fmla="*/ 231579 h 3827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</a:cxnLst>
            <a:rect l="l" t="t" r="r" b="b"/>
            <a:pathLst>
              <a:path w="351764" h="382772">
                <a:moveTo>
                  <a:pt x="258368" y="197716"/>
                </a:moveTo>
                <a:lnTo>
                  <a:pt x="258113" y="197640"/>
                </a:lnTo>
                <a:cubicBezTo>
                  <a:pt x="254170" y="196393"/>
                  <a:pt x="249845" y="198047"/>
                  <a:pt x="247733" y="201634"/>
                </a:cubicBezTo>
                <a:lnTo>
                  <a:pt x="222520" y="244681"/>
                </a:lnTo>
                <a:lnTo>
                  <a:pt x="198605" y="203822"/>
                </a:lnTo>
                <a:cubicBezTo>
                  <a:pt x="198809" y="195273"/>
                  <a:pt x="197791" y="171027"/>
                  <a:pt x="180491" y="157136"/>
                </a:cubicBezTo>
                <a:cubicBezTo>
                  <a:pt x="167057" y="146374"/>
                  <a:pt x="165073" y="128489"/>
                  <a:pt x="165073" y="118796"/>
                </a:cubicBezTo>
                <a:cubicBezTo>
                  <a:pt x="165073" y="114954"/>
                  <a:pt x="165480" y="111138"/>
                  <a:pt x="166269" y="107372"/>
                </a:cubicBezTo>
                <a:lnTo>
                  <a:pt x="209036" y="107372"/>
                </a:lnTo>
                <a:cubicBezTo>
                  <a:pt x="213947" y="107372"/>
                  <a:pt x="217941" y="103378"/>
                  <a:pt x="217941" y="98468"/>
                </a:cubicBezTo>
                <a:cubicBezTo>
                  <a:pt x="217941" y="93558"/>
                  <a:pt x="213947" y="89563"/>
                  <a:pt x="209036" y="89563"/>
                </a:cubicBezTo>
                <a:lnTo>
                  <a:pt x="155609" y="89563"/>
                </a:lnTo>
                <a:cubicBezTo>
                  <a:pt x="154566" y="73357"/>
                  <a:pt x="161206" y="57379"/>
                  <a:pt x="174105" y="45676"/>
                </a:cubicBezTo>
                <a:cubicBezTo>
                  <a:pt x="179575" y="40715"/>
                  <a:pt x="185910" y="36823"/>
                  <a:pt x="192855" y="33922"/>
                </a:cubicBezTo>
                <a:lnTo>
                  <a:pt x="194840" y="40970"/>
                </a:lnTo>
                <a:cubicBezTo>
                  <a:pt x="195934" y="44913"/>
                  <a:pt x="199521" y="47483"/>
                  <a:pt x="203414" y="47483"/>
                </a:cubicBezTo>
                <a:cubicBezTo>
                  <a:pt x="204202" y="47483"/>
                  <a:pt x="205016" y="47381"/>
                  <a:pt x="205831" y="47152"/>
                </a:cubicBezTo>
                <a:cubicBezTo>
                  <a:pt x="210563" y="45829"/>
                  <a:pt x="213336" y="40919"/>
                  <a:pt x="211988" y="36161"/>
                </a:cubicBezTo>
                <a:lnTo>
                  <a:pt x="207459" y="20031"/>
                </a:lnTo>
                <a:cubicBezTo>
                  <a:pt x="215804" y="17512"/>
                  <a:pt x="224505" y="17156"/>
                  <a:pt x="232926" y="18988"/>
                </a:cubicBezTo>
                <a:lnTo>
                  <a:pt x="228372" y="36314"/>
                </a:lnTo>
                <a:cubicBezTo>
                  <a:pt x="227125" y="41071"/>
                  <a:pt x="229975" y="45931"/>
                  <a:pt x="234732" y="47203"/>
                </a:cubicBezTo>
                <a:cubicBezTo>
                  <a:pt x="239515" y="48449"/>
                  <a:pt x="244349" y="45600"/>
                  <a:pt x="245596" y="40842"/>
                </a:cubicBezTo>
                <a:lnTo>
                  <a:pt x="247428" y="33820"/>
                </a:lnTo>
                <a:cubicBezTo>
                  <a:pt x="254424" y="36721"/>
                  <a:pt x="260759" y="40664"/>
                  <a:pt x="266280" y="45676"/>
                </a:cubicBezTo>
                <a:cubicBezTo>
                  <a:pt x="279179" y="57354"/>
                  <a:pt x="285819" y="73357"/>
                  <a:pt x="284776" y="89563"/>
                </a:cubicBezTo>
                <a:lnTo>
                  <a:pt x="263329" y="89563"/>
                </a:lnTo>
                <a:cubicBezTo>
                  <a:pt x="258419" y="89563"/>
                  <a:pt x="254424" y="93558"/>
                  <a:pt x="254424" y="98468"/>
                </a:cubicBezTo>
                <a:cubicBezTo>
                  <a:pt x="254424" y="103378"/>
                  <a:pt x="258419" y="107372"/>
                  <a:pt x="263329" y="107372"/>
                </a:cubicBezTo>
                <a:lnTo>
                  <a:pt x="274014" y="107372"/>
                </a:lnTo>
                <a:cubicBezTo>
                  <a:pt x="274727" y="110756"/>
                  <a:pt x="275236" y="114191"/>
                  <a:pt x="275312" y="117676"/>
                </a:cubicBezTo>
                <a:cubicBezTo>
                  <a:pt x="275617" y="132840"/>
                  <a:pt x="269893" y="147087"/>
                  <a:pt x="259182" y="157798"/>
                </a:cubicBezTo>
                <a:cubicBezTo>
                  <a:pt x="255696" y="161283"/>
                  <a:pt x="255696" y="166906"/>
                  <a:pt x="259182" y="170391"/>
                </a:cubicBezTo>
                <a:cubicBezTo>
                  <a:pt x="260912" y="172121"/>
                  <a:pt x="263202" y="173012"/>
                  <a:pt x="265466" y="173012"/>
                </a:cubicBezTo>
                <a:cubicBezTo>
                  <a:pt x="267730" y="173012"/>
                  <a:pt x="270020" y="172147"/>
                  <a:pt x="271750" y="170391"/>
                </a:cubicBezTo>
                <a:cubicBezTo>
                  <a:pt x="285921" y="156220"/>
                  <a:pt x="293503" y="137368"/>
                  <a:pt x="293096" y="117320"/>
                </a:cubicBezTo>
                <a:cubicBezTo>
                  <a:pt x="293019" y="113987"/>
                  <a:pt x="292714" y="110654"/>
                  <a:pt x="292205" y="107372"/>
                </a:cubicBezTo>
                <a:lnTo>
                  <a:pt x="292511" y="107372"/>
                </a:lnTo>
                <a:cubicBezTo>
                  <a:pt x="296734" y="107372"/>
                  <a:pt x="300372" y="104396"/>
                  <a:pt x="301237" y="100249"/>
                </a:cubicBezTo>
                <a:cubicBezTo>
                  <a:pt x="306325" y="75494"/>
                  <a:pt x="297726" y="50154"/>
                  <a:pt x="278187" y="32472"/>
                </a:cubicBezTo>
                <a:cubicBezTo>
                  <a:pt x="270529" y="25552"/>
                  <a:pt x="261675" y="20260"/>
                  <a:pt x="251906" y="16546"/>
                </a:cubicBezTo>
                <a:lnTo>
                  <a:pt x="252262" y="15197"/>
                </a:lnTo>
                <a:cubicBezTo>
                  <a:pt x="253407" y="10821"/>
                  <a:pt x="251091" y="6267"/>
                  <a:pt x="246868" y="4639"/>
                </a:cubicBezTo>
                <a:cubicBezTo>
                  <a:pt x="229288" y="-2154"/>
                  <a:pt x="210130" y="-1467"/>
                  <a:pt x="192881" y="6572"/>
                </a:cubicBezTo>
                <a:cubicBezTo>
                  <a:pt x="189039" y="8353"/>
                  <a:pt x="187029" y="12602"/>
                  <a:pt x="187996" y="16698"/>
                </a:cubicBezTo>
                <a:cubicBezTo>
                  <a:pt x="178354" y="20413"/>
                  <a:pt x="169627" y="25654"/>
                  <a:pt x="162096" y="32472"/>
                </a:cubicBezTo>
                <a:cubicBezTo>
                  <a:pt x="142583" y="50154"/>
                  <a:pt x="133958" y="75494"/>
                  <a:pt x="139046" y="100249"/>
                </a:cubicBezTo>
                <a:cubicBezTo>
                  <a:pt x="139886" y="104396"/>
                  <a:pt x="143549" y="107372"/>
                  <a:pt x="147773" y="107372"/>
                </a:cubicBezTo>
                <a:lnTo>
                  <a:pt x="148103" y="107372"/>
                </a:lnTo>
                <a:cubicBezTo>
                  <a:pt x="147518" y="111138"/>
                  <a:pt x="147188" y="114954"/>
                  <a:pt x="147188" y="118796"/>
                </a:cubicBezTo>
                <a:cubicBezTo>
                  <a:pt x="147188" y="131695"/>
                  <a:pt x="150062" y="155610"/>
                  <a:pt x="169296" y="171027"/>
                </a:cubicBezTo>
                <a:cubicBezTo>
                  <a:pt x="182551" y="181662"/>
                  <a:pt x="180694" y="204967"/>
                  <a:pt x="180669" y="205196"/>
                </a:cubicBezTo>
                <a:cubicBezTo>
                  <a:pt x="180491" y="207053"/>
                  <a:pt x="180898" y="208910"/>
                  <a:pt x="181839" y="210513"/>
                </a:cubicBezTo>
                <a:lnTo>
                  <a:pt x="214761" y="266790"/>
                </a:lnTo>
                <a:cubicBezTo>
                  <a:pt x="216363" y="269512"/>
                  <a:pt x="219289" y="271191"/>
                  <a:pt x="222444" y="271191"/>
                </a:cubicBezTo>
                <a:lnTo>
                  <a:pt x="222444" y="271191"/>
                </a:lnTo>
                <a:cubicBezTo>
                  <a:pt x="225599" y="271191"/>
                  <a:pt x="228525" y="269512"/>
                  <a:pt x="230127" y="266790"/>
                </a:cubicBezTo>
                <a:lnTo>
                  <a:pt x="259335" y="216924"/>
                </a:lnTo>
                <a:cubicBezTo>
                  <a:pt x="303603" y="234097"/>
                  <a:pt x="333980" y="280834"/>
                  <a:pt x="333980" y="333066"/>
                </a:cubicBezTo>
                <a:lnTo>
                  <a:pt x="333980" y="364995"/>
                </a:lnTo>
                <a:lnTo>
                  <a:pt x="224810" y="364995"/>
                </a:lnTo>
                <a:lnTo>
                  <a:pt x="228118" y="361230"/>
                </a:lnTo>
                <a:cubicBezTo>
                  <a:pt x="241500" y="347618"/>
                  <a:pt x="241424" y="325637"/>
                  <a:pt x="227914" y="312127"/>
                </a:cubicBezTo>
                <a:cubicBezTo>
                  <a:pt x="221350" y="305563"/>
                  <a:pt x="212573" y="301925"/>
                  <a:pt x="203236" y="301925"/>
                </a:cubicBezTo>
                <a:cubicBezTo>
                  <a:pt x="200819" y="301925"/>
                  <a:pt x="198478" y="302179"/>
                  <a:pt x="196163" y="302637"/>
                </a:cubicBezTo>
                <a:cubicBezTo>
                  <a:pt x="195730" y="301416"/>
                  <a:pt x="195069" y="300246"/>
                  <a:pt x="194077" y="299279"/>
                </a:cubicBezTo>
                <a:lnTo>
                  <a:pt x="151131" y="256308"/>
                </a:lnTo>
                <a:cubicBezTo>
                  <a:pt x="143066" y="248243"/>
                  <a:pt x="130040" y="248167"/>
                  <a:pt x="121822" y="256003"/>
                </a:cubicBezTo>
                <a:lnTo>
                  <a:pt x="109966" y="244147"/>
                </a:lnTo>
                <a:lnTo>
                  <a:pt x="142379" y="211734"/>
                </a:lnTo>
                <a:cubicBezTo>
                  <a:pt x="144058" y="210055"/>
                  <a:pt x="144974" y="207791"/>
                  <a:pt x="144974" y="205450"/>
                </a:cubicBezTo>
                <a:cubicBezTo>
                  <a:pt x="144974" y="203109"/>
                  <a:pt x="144033" y="200820"/>
                  <a:pt x="142379" y="199141"/>
                </a:cubicBezTo>
                <a:cubicBezTo>
                  <a:pt x="78953" y="135714"/>
                  <a:pt x="10489" y="149224"/>
                  <a:pt x="7614" y="149835"/>
                </a:cubicBezTo>
                <a:cubicBezTo>
                  <a:pt x="3925" y="150598"/>
                  <a:pt x="1127" y="153625"/>
                  <a:pt x="618" y="157340"/>
                </a:cubicBezTo>
                <a:cubicBezTo>
                  <a:pt x="236" y="160215"/>
                  <a:pt x="-8312" y="228475"/>
                  <a:pt x="52366" y="289153"/>
                </a:cubicBezTo>
                <a:cubicBezTo>
                  <a:pt x="54096" y="290883"/>
                  <a:pt x="56386" y="291774"/>
                  <a:pt x="58650" y="291774"/>
                </a:cubicBezTo>
                <a:cubicBezTo>
                  <a:pt x="60915" y="291774"/>
                  <a:pt x="63204" y="290909"/>
                  <a:pt x="64960" y="289153"/>
                </a:cubicBezTo>
                <a:lnTo>
                  <a:pt x="97373" y="256741"/>
                </a:lnTo>
                <a:lnTo>
                  <a:pt x="109228" y="268596"/>
                </a:lnTo>
                <a:cubicBezTo>
                  <a:pt x="101494" y="276712"/>
                  <a:pt x="101469" y="289509"/>
                  <a:pt x="109228" y="297600"/>
                </a:cubicBezTo>
                <a:lnTo>
                  <a:pt x="117192" y="307039"/>
                </a:lnTo>
                <a:cubicBezTo>
                  <a:pt x="120347" y="310804"/>
                  <a:pt x="125969" y="311288"/>
                  <a:pt x="129734" y="308107"/>
                </a:cubicBezTo>
                <a:cubicBezTo>
                  <a:pt x="133500" y="304927"/>
                  <a:pt x="133983" y="299330"/>
                  <a:pt x="130803" y="295565"/>
                </a:cubicBezTo>
                <a:lnTo>
                  <a:pt x="122636" y="285871"/>
                </a:lnTo>
                <a:cubicBezTo>
                  <a:pt x="122484" y="285668"/>
                  <a:pt x="122306" y="285490"/>
                  <a:pt x="122127" y="285312"/>
                </a:cubicBezTo>
                <a:cubicBezTo>
                  <a:pt x="120906" y="284090"/>
                  <a:pt x="120906" y="282030"/>
                  <a:pt x="122127" y="280783"/>
                </a:cubicBezTo>
                <a:lnTo>
                  <a:pt x="134009" y="268876"/>
                </a:lnTo>
                <a:cubicBezTo>
                  <a:pt x="135230" y="267655"/>
                  <a:pt x="137291" y="267655"/>
                  <a:pt x="138512" y="268876"/>
                </a:cubicBezTo>
                <a:lnTo>
                  <a:pt x="180211" y="310575"/>
                </a:lnTo>
                <a:cubicBezTo>
                  <a:pt x="179651" y="311059"/>
                  <a:pt x="179066" y="311542"/>
                  <a:pt x="178532" y="312076"/>
                </a:cubicBezTo>
                <a:lnTo>
                  <a:pt x="123043" y="367565"/>
                </a:lnTo>
                <a:cubicBezTo>
                  <a:pt x="119558" y="371050"/>
                  <a:pt x="119558" y="376673"/>
                  <a:pt x="123043" y="380158"/>
                </a:cubicBezTo>
                <a:cubicBezTo>
                  <a:pt x="126529" y="383644"/>
                  <a:pt x="132151" y="383644"/>
                  <a:pt x="135637" y="380158"/>
                </a:cubicBezTo>
                <a:lnTo>
                  <a:pt x="191125" y="324670"/>
                </a:lnTo>
                <a:cubicBezTo>
                  <a:pt x="194331" y="321464"/>
                  <a:pt x="198631" y="319709"/>
                  <a:pt x="203210" y="319709"/>
                </a:cubicBezTo>
                <a:cubicBezTo>
                  <a:pt x="207790" y="319709"/>
                  <a:pt x="212089" y="321464"/>
                  <a:pt x="215295" y="324670"/>
                </a:cubicBezTo>
                <a:cubicBezTo>
                  <a:pt x="218501" y="327876"/>
                  <a:pt x="220256" y="332150"/>
                  <a:pt x="220256" y="336755"/>
                </a:cubicBezTo>
                <a:cubicBezTo>
                  <a:pt x="220256" y="341360"/>
                  <a:pt x="218501" y="345634"/>
                  <a:pt x="215295" y="348840"/>
                </a:cubicBezTo>
                <a:lnTo>
                  <a:pt x="214888" y="349247"/>
                </a:lnTo>
                <a:lnTo>
                  <a:pt x="198427" y="367972"/>
                </a:lnTo>
                <a:cubicBezTo>
                  <a:pt x="196112" y="370592"/>
                  <a:pt x="195578" y="374332"/>
                  <a:pt x="197002" y="377512"/>
                </a:cubicBezTo>
                <a:cubicBezTo>
                  <a:pt x="198453" y="380693"/>
                  <a:pt x="201607" y="382753"/>
                  <a:pt x="205118" y="382753"/>
                </a:cubicBezTo>
                <a:lnTo>
                  <a:pt x="342860" y="382753"/>
                </a:lnTo>
                <a:cubicBezTo>
                  <a:pt x="347770" y="382753"/>
                  <a:pt x="351764" y="378759"/>
                  <a:pt x="351764" y="373849"/>
                </a:cubicBezTo>
                <a:lnTo>
                  <a:pt x="351764" y="333015"/>
                </a:lnTo>
                <a:cubicBezTo>
                  <a:pt x="351764" y="270606"/>
                  <a:pt x="313322" y="214940"/>
                  <a:pt x="258266" y="197665"/>
                </a:cubicBezTo>
                <a:lnTo>
                  <a:pt x="258368" y="197716"/>
                </a:lnTo>
                <a:close/>
                <a:moveTo>
                  <a:pt x="97449" y="231579"/>
                </a:moveTo>
                <a:lnTo>
                  <a:pt x="82769" y="216899"/>
                </a:lnTo>
                <a:cubicBezTo>
                  <a:pt x="79284" y="213413"/>
                  <a:pt x="73661" y="213413"/>
                  <a:pt x="70175" y="216899"/>
                </a:cubicBezTo>
                <a:cubicBezTo>
                  <a:pt x="66690" y="220384"/>
                  <a:pt x="66690" y="226007"/>
                  <a:pt x="70175" y="229493"/>
                </a:cubicBezTo>
                <a:lnTo>
                  <a:pt x="84855" y="244172"/>
                </a:lnTo>
                <a:lnTo>
                  <a:pt x="58879" y="270123"/>
                </a:lnTo>
                <a:cubicBezTo>
                  <a:pt x="39620" y="248905"/>
                  <a:pt x="26950" y="224582"/>
                  <a:pt x="21149" y="197792"/>
                </a:cubicBezTo>
                <a:cubicBezTo>
                  <a:pt x="18198" y="184232"/>
                  <a:pt x="17816" y="173114"/>
                  <a:pt x="17944" y="166473"/>
                </a:cubicBezTo>
                <a:cubicBezTo>
                  <a:pt x="34506" y="165125"/>
                  <a:pt x="79563" y="165914"/>
                  <a:pt x="123400" y="205628"/>
                </a:cubicBezTo>
                <a:lnTo>
                  <a:pt x="97449" y="231579"/>
                </a:lnTo>
                <a:lnTo>
                  <a:pt x="97449" y="231579"/>
                </a:lnTo>
                <a:close/>
              </a:path>
            </a:pathLst>
          </a:custGeom>
          <a:gradFill>
            <a:gsLst>
              <a:gs pos="0">
                <a:schemeClr val="accent5"/>
              </a:gs>
              <a:gs pos="99000">
                <a:schemeClr val="accent6"/>
              </a:gs>
            </a:gsLst>
            <a:lin ang="16200000" scaled="1"/>
          </a:gradFill>
          <a:ln w="2524" cap="flat">
            <a:noFill/>
            <a:prstDash val="solid"/>
            <a:miter/>
          </a:ln>
        </p:spPr>
        <p:txBody>
          <a:bodyPr rtlCol="0" anchor="ctr"/>
          <a:lstStyle/>
          <a:p>
            <a:endParaRPr lang="fr-FR" sz="2400" dirty="0"/>
          </a:p>
        </p:txBody>
      </p:sp>
      <p:sp>
        <p:nvSpPr>
          <p:cNvPr id="12" name="Picture Placeholder 100">
            <a:extLst>
              <a:ext uri="{FF2B5EF4-FFF2-40B4-BE49-F238E27FC236}">
                <a16:creationId xmlns:a16="http://schemas.microsoft.com/office/drawing/2014/main" id="{CBCB4FCF-5477-0591-8415-972D95048CA2}"/>
              </a:ext>
            </a:extLst>
          </p:cNvPr>
          <p:cNvSpPr>
            <a:spLocks noChangeAspect="1"/>
          </p:cNvSpPr>
          <p:nvPr/>
        </p:nvSpPr>
        <p:spPr>
          <a:xfrm>
            <a:off x="6297163" y="3921229"/>
            <a:ext cx="384000" cy="377615"/>
          </a:xfrm>
          <a:custGeom>
            <a:avLst/>
            <a:gdLst>
              <a:gd name="connsiteX0" fmla="*/ 140972 w 404065"/>
              <a:gd name="connsiteY0" fmla="*/ 234161 h 397343"/>
              <a:gd name="connsiteX1" fmla="*/ 141507 w 404065"/>
              <a:gd name="connsiteY1" fmla="*/ 246754 h 397343"/>
              <a:gd name="connsiteX2" fmla="*/ 197733 w 404065"/>
              <a:gd name="connsiteY2" fmla="*/ 268711 h 397343"/>
              <a:gd name="connsiteX3" fmla="*/ 201269 w 404065"/>
              <a:gd name="connsiteY3" fmla="*/ 268634 h 397343"/>
              <a:gd name="connsiteX4" fmla="*/ 259022 w 404065"/>
              <a:gd name="connsiteY4" fmla="*/ 241844 h 397343"/>
              <a:gd name="connsiteX5" fmla="*/ 258488 w 404065"/>
              <a:gd name="connsiteY5" fmla="*/ 229251 h 397343"/>
              <a:gd name="connsiteX6" fmla="*/ 245894 w 404065"/>
              <a:gd name="connsiteY6" fmla="*/ 229785 h 397343"/>
              <a:gd name="connsiteX7" fmla="*/ 153541 w 404065"/>
              <a:gd name="connsiteY7" fmla="*/ 233627 h 397343"/>
              <a:gd name="connsiteX8" fmla="*/ 140947 w 404065"/>
              <a:gd name="connsiteY8" fmla="*/ 234161 h 397343"/>
              <a:gd name="connsiteX9" fmla="*/ 258284 w 404065"/>
              <a:gd name="connsiteY9" fmla="*/ 154528 h 397343"/>
              <a:gd name="connsiteX10" fmla="*/ 280139 w 404065"/>
              <a:gd name="connsiteY10" fmla="*/ 167987 h 397343"/>
              <a:gd name="connsiteX11" fmla="*/ 291943 w 404065"/>
              <a:gd name="connsiteY11" fmla="*/ 172414 h 397343"/>
              <a:gd name="connsiteX12" fmla="*/ 296370 w 404065"/>
              <a:gd name="connsiteY12" fmla="*/ 160609 h 397343"/>
              <a:gd name="connsiteX13" fmla="*/ 258310 w 404065"/>
              <a:gd name="connsiteY13" fmla="*/ 136719 h 397343"/>
              <a:gd name="connsiteX14" fmla="*/ 219409 w 404065"/>
              <a:gd name="connsiteY14" fmla="*/ 162619 h 397343"/>
              <a:gd name="connsiteX15" fmla="*/ 224498 w 404065"/>
              <a:gd name="connsiteY15" fmla="*/ 174144 h 397343"/>
              <a:gd name="connsiteX16" fmla="*/ 227729 w 404065"/>
              <a:gd name="connsiteY16" fmla="*/ 174754 h 397343"/>
              <a:gd name="connsiteX17" fmla="*/ 236023 w 404065"/>
              <a:gd name="connsiteY17" fmla="*/ 169081 h 397343"/>
              <a:gd name="connsiteX18" fmla="*/ 258335 w 404065"/>
              <a:gd name="connsiteY18" fmla="*/ 154528 h 397343"/>
              <a:gd name="connsiteX19" fmla="*/ 107491 w 404065"/>
              <a:gd name="connsiteY19" fmla="*/ 162619 h 397343"/>
              <a:gd name="connsiteX20" fmla="*/ 112580 w 404065"/>
              <a:gd name="connsiteY20" fmla="*/ 174144 h 397343"/>
              <a:gd name="connsiteX21" fmla="*/ 115785 w 404065"/>
              <a:gd name="connsiteY21" fmla="*/ 174754 h 397343"/>
              <a:gd name="connsiteX22" fmla="*/ 124079 w 404065"/>
              <a:gd name="connsiteY22" fmla="*/ 169081 h 397343"/>
              <a:gd name="connsiteX23" fmla="*/ 146392 w 404065"/>
              <a:gd name="connsiteY23" fmla="*/ 154528 h 397343"/>
              <a:gd name="connsiteX24" fmla="*/ 168246 w 404065"/>
              <a:gd name="connsiteY24" fmla="*/ 167987 h 397343"/>
              <a:gd name="connsiteX25" fmla="*/ 180051 w 404065"/>
              <a:gd name="connsiteY25" fmla="*/ 172414 h 397343"/>
              <a:gd name="connsiteX26" fmla="*/ 184478 w 404065"/>
              <a:gd name="connsiteY26" fmla="*/ 160609 h 397343"/>
              <a:gd name="connsiteX27" fmla="*/ 146417 w 404065"/>
              <a:gd name="connsiteY27" fmla="*/ 136719 h 397343"/>
              <a:gd name="connsiteX28" fmla="*/ 107517 w 404065"/>
              <a:gd name="connsiteY28" fmla="*/ 162619 h 397343"/>
              <a:gd name="connsiteX29" fmla="*/ 224472 w 404065"/>
              <a:gd name="connsiteY29" fmla="*/ 362921 h 397343"/>
              <a:gd name="connsiteX30" fmla="*/ 207935 w 404065"/>
              <a:gd name="connsiteY30" fmla="*/ 379458 h 397343"/>
              <a:gd name="connsiteX31" fmla="*/ 191398 w 404065"/>
              <a:gd name="connsiteY31" fmla="*/ 362921 h 397343"/>
              <a:gd name="connsiteX32" fmla="*/ 207935 w 404065"/>
              <a:gd name="connsiteY32" fmla="*/ 346384 h 397343"/>
              <a:gd name="connsiteX33" fmla="*/ 224472 w 404065"/>
              <a:gd name="connsiteY33" fmla="*/ 346384 h 397343"/>
              <a:gd name="connsiteX34" fmla="*/ 224472 w 404065"/>
              <a:gd name="connsiteY34" fmla="*/ 362921 h 397343"/>
              <a:gd name="connsiteX35" fmla="*/ 404065 w 404065"/>
              <a:gd name="connsiteY35" fmla="*/ 223984 h 397343"/>
              <a:gd name="connsiteX36" fmla="*/ 404065 w 404065"/>
              <a:gd name="connsiteY36" fmla="*/ 192411 h 397343"/>
              <a:gd name="connsiteX37" fmla="*/ 361247 w 404065"/>
              <a:gd name="connsiteY37" fmla="*/ 145268 h 397343"/>
              <a:gd name="connsiteX38" fmla="*/ 311508 w 404065"/>
              <a:gd name="connsiteY38" fmla="*/ 45562 h 397343"/>
              <a:gd name="connsiteX39" fmla="*/ 212489 w 404065"/>
              <a:gd name="connsiteY39" fmla="*/ 250 h 397343"/>
              <a:gd name="connsiteX40" fmla="*/ 100342 w 404065"/>
              <a:gd name="connsiteY40" fmla="*/ 41084 h 397343"/>
              <a:gd name="connsiteX41" fmla="*/ 43861 w 404065"/>
              <a:gd name="connsiteY41" fmla="*/ 145217 h 397343"/>
              <a:gd name="connsiteX42" fmla="*/ 0 w 404065"/>
              <a:gd name="connsiteY42" fmla="*/ 192411 h 397343"/>
              <a:gd name="connsiteX43" fmla="*/ 0 w 404065"/>
              <a:gd name="connsiteY43" fmla="*/ 223984 h 397343"/>
              <a:gd name="connsiteX44" fmla="*/ 47372 w 404065"/>
              <a:gd name="connsiteY44" fmla="*/ 271357 h 397343"/>
              <a:gd name="connsiteX45" fmla="*/ 59457 w 404065"/>
              <a:gd name="connsiteY45" fmla="*/ 271357 h 397343"/>
              <a:gd name="connsiteX46" fmla="*/ 81642 w 404065"/>
              <a:gd name="connsiteY46" fmla="*/ 249171 h 397343"/>
              <a:gd name="connsiteX47" fmla="*/ 81642 w 404065"/>
              <a:gd name="connsiteY47" fmla="*/ 192665 h 397343"/>
              <a:gd name="connsiteX48" fmla="*/ 72738 w 404065"/>
              <a:gd name="connsiteY48" fmla="*/ 183761 h 397343"/>
              <a:gd name="connsiteX49" fmla="*/ 63833 w 404065"/>
              <a:gd name="connsiteY49" fmla="*/ 192665 h 397343"/>
              <a:gd name="connsiteX50" fmla="*/ 63833 w 404065"/>
              <a:gd name="connsiteY50" fmla="*/ 249171 h 397343"/>
              <a:gd name="connsiteX51" fmla="*/ 59457 w 404065"/>
              <a:gd name="connsiteY51" fmla="*/ 253547 h 397343"/>
              <a:gd name="connsiteX52" fmla="*/ 47372 w 404065"/>
              <a:gd name="connsiteY52" fmla="*/ 253547 h 397343"/>
              <a:gd name="connsiteX53" fmla="*/ 17809 w 404065"/>
              <a:gd name="connsiteY53" fmla="*/ 223984 h 397343"/>
              <a:gd name="connsiteX54" fmla="*/ 17809 w 404065"/>
              <a:gd name="connsiteY54" fmla="*/ 192411 h 397343"/>
              <a:gd name="connsiteX55" fmla="*/ 47372 w 404065"/>
              <a:gd name="connsiteY55" fmla="*/ 162848 h 397343"/>
              <a:gd name="connsiteX56" fmla="*/ 47805 w 404065"/>
              <a:gd name="connsiteY56" fmla="*/ 162848 h 397343"/>
              <a:gd name="connsiteX57" fmla="*/ 49739 w 404065"/>
              <a:gd name="connsiteY57" fmla="*/ 162619 h 397343"/>
              <a:gd name="connsiteX58" fmla="*/ 50273 w 404065"/>
              <a:gd name="connsiteY58" fmla="*/ 162746 h 397343"/>
              <a:gd name="connsiteX59" fmla="*/ 51494 w 404065"/>
              <a:gd name="connsiteY59" fmla="*/ 162822 h 397343"/>
              <a:gd name="connsiteX60" fmla="*/ 60297 w 404065"/>
              <a:gd name="connsiteY60" fmla="*/ 155139 h 397343"/>
              <a:gd name="connsiteX61" fmla="*/ 112300 w 404065"/>
              <a:gd name="connsiteY61" fmla="*/ 54263 h 397343"/>
              <a:gd name="connsiteX62" fmla="*/ 211446 w 404065"/>
              <a:gd name="connsiteY62" fmla="*/ 18008 h 397343"/>
              <a:gd name="connsiteX63" fmla="*/ 287491 w 404065"/>
              <a:gd name="connsiteY63" fmla="*/ 47648 h 397343"/>
              <a:gd name="connsiteX64" fmla="*/ 286346 w 404065"/>
              <a:gd name="connsiteY64" fmla="*/ 53041 h 397343"/>
              <a:gd name="connsiteX65" fmla="*/ 295862 w 404065"/>
              <a:gd name="connsiteY65" fmla="*/ 94944 h 397343"/>
              <a:gd name="connsiteX66" fmla="*/ 281538 w 404065"/>
              <a:gd name="connsiteY66" fmla="*/ 94944 h 397343"/>
              <a:gd name="connsiteX67" fmla="*/ 271895 w 404065"/>
              <a:gd name="connsiteY67" fmla="*/ 65126 h 397343"/>
              <a:gd name="connsiteX68" fmla="*/ 261566 w 404065"/>
              <a:gd name="connsiteY68" fmla="*/ 57901 h 397343"/>
              <a:gd name="connsiteX69" fmla="*/ 254341 w 404065"/>
              <a:gd name="connsiteY69" fmla="*/ 68230 h 397343"/>
              <a:gd name="connsiteX70" fmla="*/ 261693 w 404065"/>
              <a:gd name="connsiteY70" fmla="*/ 94944 h 397343"/>
              <a:gd name="connsiteX71" fmla="*/ 249812 w 404065"/>
              <a:gd name="connsiteY71" fmla="*/ 94944 h 397343"/>
              <a:gd name="connsiteX72" fmla="*/ 240170 w 404065"/>
              <a:gd name="connsiteY72" fmla="*/ 65126 h 397343"/>
              <a:gd name="connsiteX73" fmla="*/ 229840 w 404065"/>
              <a:gd name="connsiteY73" fmla="*/ 57901 h 397343"/>
              <a:gd name="connsiteX74" fmla="*/ 222615 w 404065"/>
              <a:gd name="connsiteY74" fmla="*/ 68230 h 397343"/>
              <a:gd name="connsiteX75" fmla="*/ 229968 w 404065"/>
              <a:gd name="connsiteY75" fmla="*/ 94944 h 397343"/>
              <a:gd name="connsiteX76" fmla="*/ 179746 w 404065"/>
              <a:gd name="connsiteY76" fmla="*/ 94944 h 397343"/>
              <a:gd name="connsiteX77" fmla="*/ 161886 w 404065"/>
              <a:gd name="connsiteY77" fmla="*/ 62480 h 397343"/>
              <a:gd name="connsiteX78" fmla="*/ 151963 w 404065"/>
              <a:gd name="connsiteY78" fmla="*/ 59554 h 397343"/>
              <a:gd name="connsiteX79" fmla="*/ 145959 w 404065"/>
              <a:gd name="connsiteY79" fmla="*/ 67976 h 397343"/>
              <a:gd name="connsiteX80" fmla="*/ 134587 w 404065"/>
              <a:gd name="connsiteY80" fmla="*/ 94969 h 397343"/>
              <a:gd name="connsiteX81" fmla="*/ 94058 w 404065"/>
              <a:gd name="connsiteY81" fmla="*/ 94969 h 397343"/>
              <a:gd name="connsiteX82" fmla="*/ 85153 w 404065"/>
              <a:gd name="connsiteY82" fmla="*/ 103874 h 397343"/>
              <a:gd name="connsiteX83" fmla="*/ 94058 w 404065"/>
              <a:gd name="connsiteY83" fmla="*/ 112778 h 397343"/>
              <a:gd name="connsiteX84" fmla="*/ 137716 w 404065"/>
              <a:gd name="connsiteY84" fmla="*/ 112778 h 397343"/>
              <a:gd name="connsiteX85" fmla="*/ 142652 w 404065"/>
              <a:gd name="connsiteY85" fmla="*/ 111277 h 397343"/>
              <a:gd name="connsiteX86" fmla="*/ 158654 w 404065"/>
              <a:gd name="connsiteY86" fmla="*/ 91611 h 397343"/>
              <a:gd name="connsiteX87" fmla="*/ 165447 w 404065"/>
              <a:gd name="connsiteY87" fmla="*/ 107054 h 397343"/>
              <a:gd name="connsiteX88" fmla="*/ 173767 w 404065"/>
              <a:gd name="connsiteY88" fmla="*/ 112804 h 397343"/>
              <a:gd name="connsiteX89" fmla="*/ 310948 w 404065"/>
              <a:gd name="connsiteY89" fmla="*/ 112804 h 397343"/>
              <a:gd name="connsiteX90" fmla="*/ 318963 w 404065"/>
              <a:gd name="connsiteY90" fmla="*/ 107792 h 397343"/>
              <a:gd name="connsiteX91" fmla="*/ 317919 w 404065"/>
              <a:gd name="connsiteY91" fmla="*/ 98378 h 397343"/>
              <a:gd name="connsiteX92" fmla="*/ 306089 w 404065"/>
              <a:gd name="connsiteY92" fmla="*/ 65635 h 397343"/>
              <a:gd name="connsiteX93" fmla="*/ 343845 w 404065"/>
              <a:gd name="connsiteY93" fmla="*/ 149516 h 397343"/>
              <a:gd name="connsiteX94" fmla="*/ 347432 w 404065"/>
              <a:gd name="connsiteY94" fmla="*/ 155419 h 397343"/>
              <a:gd name="connsiteX95" fmla="*/ 356184 w 404065"/>
              <a:gd name="connsiteY95" fmla="*/ 162924 h 397343"/>
              <a:gd name="connsiteX96" fmla="*/ 356616 w 404065"/>
              <a:gd name="connsiteY96" fmla="*/ 162924 h 397343"/>
              <a:gd name="connsiteX97" fmla="*/ 386180 w 404065"/>
              <a:gd name="connsiteY97" fmla="*/ 192487 h 397343"/>
              <a:gd name="connsiteX98" fmla="*/ 386180 w 404065"/>
              <a:gd name="connsiteY98" fmla="*/ 224060 h 397343"/>
              <a:gd name="connsiteX99" fmla="*/ 356616 w 404065"/>
              <a:gd name="connsiteY99" fmla="*/ 253624 h 397343"/>
              <a:gd name="connsiteX100" fmla="*/ 344531 w 404065"/>
              <a:gd name="connsiteY100" fmla="*/ 253624 h 397343"/>
              <a:gd name="connsiteX101" fmla="*/ 340156 w 404065"/>
              <a:gd name="connsiteY101" fmla="*/ 249248 h 397343"/>
              <a:gd name="connsiteX102" fmla="*/ 340156 w 404065"/>
              <a:gd name="connsiteY102" fmla="*/ 192742 h 397343"/>
              <a:gd name="connsiteX103" fmla="*/ 331251 w 404065"/>
              <a:gd name="connsiteY103" fmla="*/ 183837 h 397343"/>
              <a:gd name="connsiteX104" fmla="*/ 322346 w 404065"/>
              <a:gd name="connsiteY104" fmla="*/ 192742 h 397343"/>
              <a:gd name="connsiteX105" fmla="*/ 322346 w 404065"/>
              <a:gd name="connsiteY105" fmla="*/ 249248 h 397343"/>
              <a:gd name="connsiteX106" fmla="*/ 325577 w 404065"/>
              <a:gd name="connsiteY106" fmla="*/ 260697 h 397343"/>
              <a:gd name="connsiteX107" fmla="*/ 322143 w 404065"/>
              <a:gd name="connsiteY107" fmla="*/ 266294 h 397343"/>
              <a:gd name="connsiteX108" fmla="*/ 321914 w 404065"/>
              <a:gd name="connsiteY108" fmla="*/ 266701 h 397343"/>
              <a:gd name="connsiteX109" fmla="*/ 242230 w 404065"/>
              <a:gd name="connsiteY109" fmla="*/ 326845 h 397343"/>
              <a:gd name="connsiteX110" fmla="*/ 242230 w 404065"/>
              <a:gd name="connsiteY110" fmla="*/ 315676 h 397343"/>
              <a:gd name="connsiteX111" fmla="*/ 233326 w 404065"/>
              <a:gd name="connsiteY111" fmla="*/ 306771 h 397343"/>
              <a:gd name="connsiteX112" fmla="*/ 224421 w 404065"/>
              <a:gd name="connsiteY112" fmla="*/ 315676 h 397343"/>
              <a:gd name="connsiteX113" fmla="*/ 224421 w 404065"/>
              <a:gd name="connsiteY113" fmla="*/ 328651 h 397343"/>
              <a:gd name="connsiteX114" fmla="*/ 207884 w 404065"/>
              <a:gd name="connsiteY114" fmla="*/ 328651 h 397343"/>
              <a:gd name="connsiteX115" fmla="*/ 173538 w 404065"/>
              <a:gd name="connsiteY115" fmla="*/ 362998 h 397343"/>
              <a:gd name="connsiteX116" fmla="*/ 207884 w 404065"/>
              <a:gd name="connsiteY116" fmla="*/ 397344 h 397343"/>
              <a:gd name="connsiteX117" fmla="*/ 242230 w 404065"/>
              <a:gd name="connsiteY117" fmla="*/ 362998 h 397343"/>
              <a:gd name="connsiteX118" fmla="*/ 242230 w 404065"/>
              <a:gd name="connsiteY118" fmla="*/ 345087 h 397343"/>
              <a:gd name="connsiteX119" fmla="*/ 245182 w 404065"/>
              <a:gd name="connsiteY119" fmla="*/ 344476 h 397343"/>
              <a:gd name="connsiteX120" fmla="*/ 337459 w 404065"/>
              <a:gd name="connsiteY120" fmla="*/ 275453 h 397343"/>
              <a:gd name="connsiteX121" fmla="*/ 340181 w 404065"/>
              <a:gd name="connsiteY121" fmla="*/ 271026 h 397343"/>
              <a:gd name="connsiteX122" fmla="*/ 344557 w 404065"/>
              <a:gd name="connsiteY122" fmla="*/ 271458 h 397343"/>
              <a:gd name="connsiteX123" fmla="*/ 356642 w 404065"/>
              <a:gd name="connsiteY123" fmla="*/ 271458 h 397343"/>
              <a:gd name="connsiteX124" fmla="*/ 404014 w 404065"/>
              <a:gd name="connsiteY124" fmla="*/ 224086 h 3973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</a:cxnLst>
            <a:rect l="l" t="t" r="r" b="b"/>
            <a:pathLst>
              <a:path w="404065" h="397343">
                <a:moveTo>
                  <a:pt x="140972" y="234161"/>
                </a:moveTo>
                <a:cubicBezTo>
                  <a:pt x="137640" y="237774"/>
                  <a:pt x="137869" y="243422"/>
                  <a:pt x="141507" y="246754"/>
                </a:cubicBezTo>
                <a:cubicBezTo>
                  <a:pt x="156975" y="261002"/>
                  <a:pt x="176820" y="268711"/>
                  <a:pt x="197733" y="268711"/>
                </a:cubicBezTo>
                <a:cubicBezTo>
                  <a:pt x="198903" y="268711"/>
                  <a:pt x="200099" y="268685"/>
                  <a:pt x="201269" y="268634"/>
                </a:cubicBezTo>
                <a:cubicBezTo>
                  <a:pt x="223454" y="267718"/>
                  <a:pt x="243986" y="258203"/>
                  <a:pt x="259022" y="241844"/>
                </a:cubicBezTo>
                <a:cubicBezTo>
                  <a:pt x="262355" y="238231"/>
                  <a:pt x="262126" y="232583"/>
                  <a:pt x="258488" y="229251"/>
                </a:cubicBezTo>
                <a:cubicBezTo>
                  <a:pt x="254875" y="225918"/>
                  <a:pt x="249227" y="226147"/>
                  <a:pt x="245894" y="229785"/>
                </a:cubicBezTo>
                <a:cubicBezTo>
                  <a:pt x="221495" y="256321"/>
                  <a:pt x="180051" y="258051"/>
                  <a:pt x="153541" y="233627"/>
                </a:cubicBezTo>
                <a:cubicBezTo>
                  <a:pt x="149928" y="230294"/>
                  <a:pt x="144280" y="230523"/>
                  <a:pt x="140947" y="234161"/>
                </a:cubicBezTo>
                <a:moveTo>
                  <a:pt x="258284" y="154528"/>
                </a:moveTo>
                <a:cubicBezTo>
                  <a:pt x="267850" y="154528"/>
                  <a:pt x="276399" y="159795"/>
                  <a:pt x="280139" y="167987"/>
                </a:cubicBezTo>
                <a:cubicBezTo>
                  <a:pt x="282174" y="172465"/>
                  <a:pt x="287466" y="174449"/>
                  <a:pt x="291943" y="172414"/>
                </a:cubicBezTo>
                <a:cubicBezTo>
                  <a:pt x="296421" y="170378"/>
                  <a:pt x="298406" y="165087"/>
                  <a:pt x="296370" y="160609"/>
                </a:cubicBezTo>
                <a:cubicBezTo>
                  <a:pt x="289781" y="146107"/>
                  <a:pt x="274821" y="136719"/>
                  <a:pt x="258310" y="136719"/>
                </a:cubicBezTo>
                <a:cubicBezTo>
                  <a:pt x="241798" y="136719"/>
                  <a:pt x="225413" y="147125"/>
                  <a:pt x="219409" y="162619"/>
                </a:cubicBezTo>
                <a:cubicBezTo>
                  <a:pt x="217628" y="167198"/>
                  <a:pt x="219918" y="172363"/>
                  <a:pt x="224498" y="174144"/>
                </a:cubicBezTo>
                <a:cubicBezTo>
                  <a:pt x="225566" y="174551"/>
                  <a:pt x="226635" y="174754"/>
                  <a:pt x="227729" y="174754"/>
                </a:cubicBezTo>
                <a:cubicBezTo>
                  <a:pt x="231290" y="174754"/>
                  <a:pt x="234674" y="172592"/>
                  <a:pt x="236023" y="169081"/>
                </a:cubicBezTo>
                <a:cubicBezTo>
                  <a:pt x="239406" y="160380"/>
                  <a:pt x="248362" y="154528"/>
                  <a:pt x="258335" y="154528"/>
                </a:cubicBezTo>
                <a:moveTo>
                  <a:pt x="107491" y="162619"/>
                </a:moveTo>
                <a:cubicBezTo>
                  <a:pt x="105710" y="167198"/>
                  <a:pt x="107975" y="172363"/>
                  <a:pt x="112580" y="174144"/>
                </a:cubicBezTo>
                <a:cubicBezTo>
                  <a:pt x="113648" y="174551"/>
                  <a:pt x="114717" y="174754"/>
                  <a:pt x="115785" y="174754"/>
                </a:cubicBezTo>
                <a:cubicBezTo>
                  <a:pt x="119347" y="174754"/>
                  <a:pt x="122731" y="172592"/>
                  <a:pt x="124079" y="169081"/>
                </a:cubicBezTo>
                <a:cubicBezTo>
                  <a:pt x="127463" y="160380"/>
                  <a:pt x="136418" y="154528"/>
                  <a:pt x="146392" y="154528"/>
                </a:cubicBezTo>
                <a:cubicBezTo>
                  <a:pt x="156365" y="154528"/>
                  <a:pt x="164506" y="159795"/>
                  <a:pt x="168246" y="167987"/>
                </a:cubicBezTo>
                <a:cubicBezTo>
                  <a:pt x="170281" y="172465"/>
                  <a:pt x="175573" y="174449"/>
                  <a:pt x="180051" y="172414"/>
                </a:cubicBezTo>
                <a:cubicBezTo>
                  <a:pt x="184529" y="170378"/>
                  <a:pt x="186513" y="165087"/>
                  <a:pt x="184478" y="160609"/>
                </a:cubicBezTo>
                <a:cubicBezTo>
                  <a:pt x="177888" y="146107"/>
                  <a:pt x="162954" y="136719"/>
                  <a:pt x="146417" y="136719"/>
                </a:cubicBezTo>
                <a:cubicBezTo>
                  <a:pt x="129880" y="136719"/>
                  <a:pt x="113521" y="147125"/>
                  <a:pt x="107517" y="162619"/>
                </a:cubicBezTo>
                <a:moveTo>
                  <a:pt x="224472" y="362921"/>
                </a:moveTo>
                <a:cubicBezTo>
                  <a:pt x="224472" y="372029"/>
                  <a:pt x="217043" y="379458"/>
                  <a:pt x="207935" y="379458"/>
                </a:cubicBezTo>
                <a:cubicBezTo>
                  <a:pt x="198827" y="379458"/>
                  <a:pt x="191398" y="372029"/>
                  <a:pt x="191398" y="362921"/>
                </a:cubicBezTo>
                <a:cubicBezTo>
                  <a:pt x="191398" y="353813"/>
                  <a:pt x="198827" y="346384"/>
                  <a:pt x="207935" y="346384"/>
                </a:cubicBezTo>
                <a:lnTo>
                  <a:pt x="224472" y="346384"/>
                </a:lnTo>
                <a:lnTo>
                  <a:pt x="224472" y="362921"/>
                </a:lnTo>
                <a:close/>
                <a:moveTo>
                  <a:pt x="404065" y="223984"/>
                </a:moveTo>
                <a:lnTo>
                  <a:pt x="404065" y="192411"/>
                </a:lnTo>
                <a:cubicBezTo>
                  <a:pt x="404065" y="167834"/>
                  <a:pt x="385238" y="147557"/>
                  <a:pt x="361247" y="145268"/>
                </a:cubicBezTo>
                <a:cubicBezTo>
                  <a:pt x="355242" y="107054"/>
                  <a:pt x="337637" y="71690"/>
                  <a:pt x="311508" y="45562"/>
                </a:cubicBezTo>
                <a:cubicBezTo>
                  <a:pt x="284464" y="18466"/>
                  <a:pt x="249303" y="2387"/>
                  <a:pt x="212489" y="250"/>
                </a:cubicBezTo>
                <a:cubicBezTo>
                  <a:pt x="171757" y="-2116"/>
                  <a:pt x="131941" y="12386"/>
                  <a:pt x="100342" y="41084"/>
                </a:cubicBezTo>
                <a:cubicBezTo>
                  <a:pt x="70957" y="67772"/>
                  <a:pt x="51061" y="104510"/>
                  <a:pt x="43861" y="145217"/>
                </a:cubicBezTo>
                <a:cubicBezTo>
                  <a:pt x="19387" y="147023"/>
                  <a:pt x="0" y="167478"/>
                  <a:pt x="0" y="192411"/>
                </a:cubicBezTo>
                <a:lnTo>
                  <a:pt x="0" y="223984"/>
                </a:lnTo>
                <a:cubicBezTo>
                  <a:pt x="0" y="250113"/>
                  <a:pt x="21244" y="271357"/>
                  <a:pt x="47372" y="271357"/>
                </a:cubicBezTo>
                <a:lnTo>
                  <a:pt x="59457" y="271357"/>
                </a:lnTo>
                <a:cubicBezTo>
                  <a:pt x="71695" y="271357"/>
                  <a:pt x="81642" y="261409"/>
                  <a:pt x="81642" y="249171"/>
                </a:cubicBezTo>
                <a:lnTo>
                  <a:pt x="81642" y="192665"/>
                </a:lnTo>
                <a:cubicBezTo>
                  <a:pt x="81642" y="187755"/>
                  <a:pt x="77648" y="183761"/>
                  <a:pt x="72738" y="183761"/>
                </a:cubicBezTo>
                <a:cubicBezTo>
                  <a:pt x="67828" y="183761"/>
                  <a:pt x="63833" y="187755"/>
                  <a:pt x="63833" y="192665"/>
                </a:cubicBezTo>
                <a:lnTo>
                  <a:pt x="63833" y="249171"/>
                </a:lnTo>
                <a:cubicBezTo>
                  <a:pt x="63833" y="251588"/>
                  <a:pt x="61874" y="253547"/>
                  <a:pt x="59457" y="253547"/>
                </a:cubicBezTo>
                <a:lnTo>
                  <a:pt x="47372" y="253547"/>
                </a:lnTo>
                <a:cubicBezTo>
                  <a:pt x="31064" y="253547"/>
                  <a:pt x="17809" y="240292"/>
                  <a:pt x="17809" y="223984"/>
                </a:cubicBezTo>
                <a:lnTo>
                  <a:pt x="17809" y="192411"/>
                </a:lnTo>
                <a:cubicBezTo>
                  <a:pt x="17809" y="176103"/>
                  <a:pt x="31064" y="162848"/>
                  <a:pt x="47372" y="162848"/>
                </a:cubicBezTo>
                <a:lnTo>
                  <a:pt x="47805" y="162848"/>
                </a:lnTo>
                <a:cubicBezTo>
                  <a:pt x="48466" y="162848"/>
                  <a:pt x="49102" y="162771"/>
                  <a:pt x="49739" y="162619"/>
                </a:cubicBezTo>
                <a:cubicBezTo>
                  <a:pt x="49917" y="162670"/>
                  <a:pt x="50095" y="162721"/>
                  <a:pt x="50273" y="162746"/>
                </a:cubicBezTo>
                <a:cubicBezTo>
                  <a:pt x="50680" y="162797"/>
                  <a:pt x="51087" y="162822"/>
                  <a:pt x="51494" y="162822"/>
                </a:cubicBezTo>
                <a:cubicBezTo>
                  <a:pt x="55870" y="162822"/>
                  <a:pt x="59686" y="159591"/>
                  <a:pt x="60297" y="155139"/>
                </a:cubicBezTo>
                <a:cubicBezTo>
                  <a:pt x="65741" y="115603"/>
                  <a:pt x="84212" y="79781"/>
                  <a:pt x="112300" y="54263"/>
                </a:cubicBezTo>
                <a:cubicBezTo>
                  <a:pt x="140336" y="28795"/>
                  <a:pt x="175548" y="15922"/>
                  <a:pt x="211446" y="18008"/>
                </a:cubicBezTo>
                <a:cubicBezTo>
                  <a:pt x="239839" y="19662"/>
                  <a:pt x="265968" y="30322"/>
                  <a:pt x="287491" y="47648"/>
                </a:cubicBezTo>
                <a:cubicBezTo>
                  <a:pt x="286575" y="49225"/>
                  <a:pt x="286117" y="51082"/>
                  <a:pt x="286346" y="53041"/>
                </a:cubicBezTo>
                <a:cubicBezTo>
                  <a:pt x="288229" y="70164"/>
                  <a:pt x="291435" y="84182"/>
                  <a:pt x="295862" y="94944"/>
                </a:cubicBezTo>
                <a:lnTo>
                  <a:pt x="281538" y="94944"/>
                </a:lnTo>
                <a:cubicBezTo>
                  <a:pt x="277493" y="88227"/>
                  <a:pt x="274185" y="78051"/>
                  <a:pt x="271895" y="65126"/>
                </a:cubicBezTo>
                <a:cubicBezTo>
                  <a:pt x="271030" y="60267"/>
                  <a:pt x="266400" y="57036"/>
                  <a:pt x="261566" y="57901"/>
                </a:cubicBezTo>
                <a:cubicBezTo>
                  <a:pt x="256732" y="58766"/>
                  <a:pt x="253501" y="63371"/>
                  <a:pt x="254341" y="68230"/>
                </a:cubicBezTo>
                <a:cubicBezTo>
                  <a:pt x="256198" y="78763"/>
                  <a:pt x="258666" y="87591"/>
                  <a:pt x="261693" y="94944"/>
                </a:cubicBezTo>
                <a:lnTo>
                  <a:pt x="249812" y="94944"/>
                </a:lnTo>
                <a:cubicBezTo>
                  <a:pt x="245767" y="88227"/>
                  <a:pt x="242459" y="78051"/>
                  <a:pt x="240170" y="65126"/>
                </a:cubicBezTo>
                <a:cubicBezTo>
                  <a:pt x="239305" y="60267"/>
                  <a:pt x="234700" y="57036"/>
                  <a:pt x="229840" y="57901"/>
                </a:cubicBezTo>
                <a:cubicBezTo>
                  <a:pt x="225006" y="58766"/>
                  <a:pt x="221775" y="63371"/>
                  <a:pt x="222615" y="68230"/>
                </a:cubicBezTo>
                <a:cubicBezTo>
                  <a:pt x="224472" y="78763"/>
                  <a:pt x="226940" y="87591"/>
                  <a:pt x="229968" y="94944"/>
                </a:cubicBezTo>
                <a:lnTo>
                  <a:pt x="179746" y="94944"/>
                </a:lnTo>
                <a:cubicBezTo>
                  <a:pt x="176336" y="86955"/>
                  <a:pt x="169620" y="72377"/>
                  <a:pt x="161886" y="62480"/>
                </a:cubicBezTo>
                <a:cubicBezTo>
                  <a:pt x="159545" y="59478"/>
                  <a:pt x="155551" y="58308"/>
                  <a:pt x="151963" y="59554"/>
                </a:cubicBezTo>
                <a:cubicBezTo>
                  <a:pt x="148376" y="60801"/>
                  <a:pt x="145959" y="64185"/>
                  <a:pt x="145959" y="67976"/>
                </a:cubicBezTo>
                <a:cubicBezTo>
                  <a:pt x="145959" y="82884"/>
                  <a:pt x="138199" y="91662"/>
                  <a:pt x="134587" y="94969"/>
                </a:cubicBezTo>
                <a:lnTo>
                  <a:pt x="94058" y="94969"/>
                </a:lnTo>
                <a:cubicBezTo>
                  <a:pt x="89148" y="94969"/>
                  <a:pt x="85153" y="98964"/>
                  <a:pt x="85153" y="103874"/>
                </a:cubicBezTo>
                <a:cubicBezTo>
                  <a:pt x="85153" y="108784"/>
                  <a:pt x="89148" y="112778"/>
                  <a:pt x="94058" y="112778"/>
                </a:cubicBezTo>
                <a:lnTo>
                  <a:pt x="137716" y="112778"/>
                </a:lnTo>
                <a:cubicBezTo>
                  <a:pt x="139471" y="112778"/>
                  <a:pt x="141176" y="112270"/>
                  <a:pt x="142652" y="111277"/>
                </a:cubicBezTo>
                <a:cubicBezTo>
                  <a:pt x="143237" y="110896"/>
                  <a:pt x="152574" y="104510"/>
                  <a:pt x="158654" y="91611"/>
                </a:cubicBezTo>
                <a:cubicBezTo>
                  <a:pt x="162700" y="99854"/>
                  <a:pt x="165396" y="106927"/>
                  <a:pt x="165447" y="107054"/>
                </a:cubicBezTo>
                <a:cubicBezTo>
                  <a:pt x="166770" y="110514"/>
                  <a:pt x="170078" y="112804"/>
                  <a:pt x="173767" y="112804"/>
                </a:cubicBezTo>
                <a:lnTo>
                  <a:pt x="310948" y="112804"/>
                </a:lnTo>
                <a:cubicBezTo>
                  <a:pt x="314358" y="112804"/>
                  <a:pt x="317487" y="110845"/>
                  <a:pt x="318963" y="107792"/>
                </a:cubicBezTo>
                <a:cubicBezTo>
                  <a:pt x="320438" y="104713"/>
                  <a:pt x="320057" y="101075"/>
                  <a:pt x="317919" y="98378"/>
                </a:cubicBezTo>
                <a:cubicBezTo>
                  <a:pt x="314180" y="93646"/>
                  <a:pt x="309422" y="84258"/>
                  <a:pt x="306089" y="65635"/>
                </a:cubicBezTo>
                <a:cubicBezTo>
                  <a:pt x="325476" y="87947"/>
                  <a:pt x="338985" y="116798"/>
                  <a:pt x="343845" y="149516"/>
                </a:cubicBezTo>
                <a:cubicBezTo>
                  <a:pt x="344201" y="151984"/>
                  <a:pt x="345549" y="154045"/>
                  <a:pt x="347432" y="155419"/>
                </a:cubicBezTo>
                <a:cubicBezTo>
                  <a:pt x="348119" y="159668"/>
                  <a:pt x="351757" y="162924"/>
                  <a:pt x="356184" y="162924"/>
                </a:cubicBezTo>
                <a:lnTo>
                  <a:pt x="356616" y="162924"/>
                </a:lnTo>
                <a:cubicBezTo>
                  <a:pt x="372924" y="162924"/>
                  <a:pt x="386180" y="176179"/>
                  <a:pt x="386180" y="192487"/>
                </a:cubicBezTo>
                <a:lnTo>
                  <a:pt x="386180" y="224060"/>
                </a:lnTo>
                <a:cubicBezTo>
                  <a:pt x="386180" y="240369"/>
                  <a:pt x="372924" y="253624"/>
                  <a:pt x="356616" y="253624"/>
                </a:cubicBezTo>
                <a:lnTo>
                  <a:pt x="344531" y="253624"/>
                </a:lnTo>
                <a:cubicBezTo>
                  <a:pt x="342114" y="253624"/>
                  <a:pt x="340156" y="251665"/>
                  <a:pt x="340156" y="249248"/>
                </a:cubicBezTo>
                <a:lnTo>
                  <a:pt x="340156" y="192742"/>
                </a:lnTo>
                <a:cubicBezTo>
                  <a:pt x="340156" y="187831"/>
                  <a:pt x="336161" y="183837"/>
                  <a:pt x="331251" y="183837"/>
                </a:cubicBezTo>
                <a:cubicBezTo>
                  <a:pt x="326341" y="183837"/>
                  <a:pt x="322346" y="187831"/>
                  <a:pt x="322346" y="192742"/>
                </a:cubicBezTo>
                <a:lnTo>
                  <a:pt x="322346" y="249248"/>
                </a:lnTo>
                <a:cubicBezTo>
                  <a:pt x="322346" y="253446"/>
                  <a:pt x="323542" y="257338"/>
                  <a:pt x="325577" y="260697"/>
                </a:cubicBezTo>
                <a:lnTo>
                  <a:pt x="322143" y="266294"/>
                </a:lnTo>
                <a:cubicBezTo>
                  <a:pt x="322066" y="266421"/>
                  <a:pt x="321990" y="266548"/>
                  <a:pt x="321914" y="266701"/>
                </a:cubicBezTo>
                <a:cubicBezTo>
                  <a:pt x="306191" y="295552"/>
                  <a:pt x="268257" y="320892"/>
                  <a:pt x="242230" y="326845"/>
                </a:cubicBezTo>
                <a:lnTo>
                  <a:pt x="242230" y="315676"/>
                </a:lnTo>
                <a:cubicBezTo>
                  <a:pt x="242230" y="310766"/>
                  <a:pt x="238236" y="306771"/>
                  <a:pt x="233326" y="306771"/>
                </a:cubicBezTo>
                <a:cubicBezTo>
                  <a:pt x="228416" y="306771"/>
                  <a:pt x="224421" y="310766"/>
                  <a:pt x="224421" y="315676"/>
                </a:cubicBezTo>
                <a:lnTo>
                  <a:pt x="224421" y="328651"/>
                </a:lnTo>
                <a:lnTo>
                  <a:pt x="207884" y="328651"/>
                </a:lnTo>
                <a:cubicBezTo>
                  <a:pt x="188955" y="328651"/>
                  <a:pt x="173538" y="344069"/>
                  <a:pt x="173538" y="362998"/>
                </a:cubicBezTo>
                <a:cubicBezTo>
                  <a:pt x="173538" y="381926"/>
                  <a:pt x="188955" y="397344"/>
                  <a:pt x="207884" y="397344"/>
                </a:cubicBezTo>
                <a:cubicBezTo>
                  <a:pt x="226813" y="397344"/>
                  <a:pt x="242230" y="381926"/>
                  <a:pt x="242230" y="362998"/>
                </a:cubicBezTo>
                <a:lnTo>
                  <a:pt x="242230" y="345087"/>
                </a:lnTo>
                <a:cubicBezTo>
                  <a:pt x="243172" y="344883"/>
                  <a:pt x="244139" y="344680"/>
                  <a:pt x="245182" y="344476"/>
                </a:cubicBezTo>
                <a:cubicBezTo>
                  <a:pt x="274898" y="338065"/>
                  <a:pt x="318581" y="309875"/>
                  <a:pt x="337459" y="275453"/>
                </a:cubicBezTo>
                <a:lnTo>
                  <a:pt x="340181" y="271026"/>
                </a:lnTo>
                <a:cubicBezTo>
                  <a:pt x="341606" y="271306"/>
                  <a:pt x="343056" y="271458"/>
                  <a:pt x="344557" y="271458"/>
                </a:cubicBezTo>
                <a:lnTo>
                  <a:pt x="356642" y="271458"/>
                </a:lnTo>
                <a:cubicBezTo>
                  <a:pt x="382770" y="271458"/>
                  <a:pt x="404014" y="250215"/>
                  <a:pt x="404014" y="224086"/>
                </a:cubicBezTo>
              </a:path>
            </a:pathLst>
          </a:custGeom>
          <a:gradFill>
            <a:gsLst>
              <a:gs pos="0">
                <a:schemeClr val="accent5"/>
              </a:gs>
              <a:gs pos="99000">
                <a:schemeClr val="accent6"/>
              </a:gs>
            </a:gsLst>
            <a:lin ang="16200000" scaled="1"/>
          </a:gradFill>
          <a:ln w="2524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fr-FR" sz="2400" dirty="0"/>
          </a:p>
        </p:txBody>
      </p: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5948FC47-1807-17F9-8F6D-3A4EA4112638}"/>
              </a:ext>
            </a:extLst>
          </p:cNvPr>
          <p:cNvSpPr txBox="1">
            <a:spLocks/>
          </p:cNvSpPr>
          <p:nvPr/>
        </p:nvSpPr>
        <p:spPr>
          <a:xfrm>
            <a:off x="1113856" y="1951631"/>
            <a:ext cx="3506985" cy="492443"/>
          </a:xfrm>
          <a:prstGeom prst="rect">
            <a:avLst/>
          </a:prstGeom>
        </p:spPr>
        <p:txBody>
          <a:bodyPr wrap="square" lIns="0" tIns="0" rIns="0" bIns="0" anchor="b">
            <a:noAutofit/>
          </a:bodyPr>
          <a:lstStyle>
            <a:lvl1pPr marL="0" indent="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b="1" kern="1200" baseline="0">
                <a:gradFill>
                  <a:gsLst>
                    <a:gs pos="0">
                      <a:schemeClr val="accent1"/>
                    </a:gs>
                    <a:gs pos="100000">
                      <a:schemeClr val="accent5"/>
                    </a:gs>
                  </a:gsLst>
                  <a:lin ang="0" scaled="1"/>
                </a:gra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dirty="0">
                <a:gradFill>
                  <a:gsLst>
                    <a:gs pos="0">
                      <a:schemeClr val="accent6"/>
                    </a:gs>
                    <a:gs pos="100000">
                      <a:schemeClr val="accent5"/>
                    </a:gs>
                  </a:gsLst>
                  <a:lin ang="0" scaled="1"/>
                </a:gradFill>
              </a:rPr>
              <a:t>SYNDIGO</a:t>
            </a:r>
          </a:p>
        </p:txBody>
      </p: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5B2A67AE-E190-E0F0-E082-FFD9248824C0}"/>
              </a:ext>
            </a:extLst>
          </p:cNvPr>
          <p:cNvSpPr txBox="1">
            <a:spLocks/>
          </p:cNvSpPr>
          <p:nvPr/>
        </p:nvSpPr>
        <p:spPr>
          <a:xfrm>
            <a:off x="1113856" y="2568406"/>
            <a:ext cx="3506985" cy="820737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>
            <a:lvl1pPr marL="0" indent="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700"/>
              </a:spcAft>
              <a:buFont typeface="Arial" panose="020B0604020202020204" pitchFamily="34" charset="0"/>
              <a:buNone/>
              <a:defRPr sz="1000" b="0" kern="1200" spc="-2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 sz="1333" dirty="0"/>
              <a:t>MDM-</a:t>
            </a:r>
            <a:r>
              <a:rPr lang="fr-FR" sz="1333" dirty="0" err="1"/>
              <a:t>systemet</a:t>
            </a:r>
            <a:r>
              <a:rPr lang="fr-FR" sz="1333" dirty="0"/>
              <a:t> </a:t>
            </a:r>
            <a:r>
              <a:rPr lang="fr-FR" sz="1333" dirty="0" err="1"/>
              <a:t>som</a:t>
            </a:r>
            <a:r>
              <a:rPr lang="fr-FR" sz="1333" dirty="0"/>
              <a:t> </a:t>
            </a:r>
            <a:r>
              <a:rPr lang="fr-FR" sz="1333" dirty="0" err="1"/>
              <a:t>brukes</a:t>
            </a:r>
            <a:r>
              <a:rPr lang="fr-FR" sz="1333" dirty="0"/>
              <a:t> av </a:t>
            </a:r>
            <a:r>
              <a:rPr lang="fr-FR" sz="1333" dirty="0" err="1"/>
              <a:t>hele</a:t>
            </a:r>
            <a:r>
              <a:rPr lang="fr-FR" sz="1333" dirty="0"/>
              <a:t> SGDN</a:t>
            </a:r>
          </a:p>
          <a:p>
            <a:r>
              <a:rPr lang="fr-FR" sz="1333" dirty="0"/>
              <a:t>Kommer </a:t>
            </a:r>
            <a:r>
              <a:rPr lang="fr-FR" sz="1333" dirty="0" err="1"/>
              <a:t>til</a:t>
            </a:r>
            <a:r>
              <a:rPr lang="fr-FR" sz="1333" dirty="0"/>
              <a:t> å </a:t>
            </a:r>
            <a:r>
              <a:rPr lang="fr-FR" sz="1333" dirty="0" err="1"/>
              <a:t>sende</a:t>
            </a:r>
            <a:r>
              <a:rPr lang="fr-FR" sz="1333" dirty="0"/>
              <a:t> alt av </a:t>
            </a:r>
            <a:r>
              <a:rPr lang="fr-FR" sz="1333" dirty="0" err="1"/>
              <a:t>artikkeldata</a:t>
            </a:r>
            <a:r>
              <a:rPr lang="fr-FR" sz="1333" dirty="0"/>
              <a:t> </a:t>
            </a:r>
            <a:r>
              <a:rPr lang="fr-FR" sz="1333" dirty="0" err="1"/>
              <a:t>til</a:t>
            </a:r>
            <a:r>
              <a:rPr lang="fr-FR" sz="1333" dirty="0"/>
              <a:t> </a:t>
            </a:r>
            <a:r>
              <a:rPr lang="fr-FR" sz="1333" dirty="0" err="1"/>
              <a:t>VisionPoint</a:t>
            </a:r>
            <a:r>
              <a:rPr lang="fr-FR" sz="1333" dirty="0"/>
              <a:t> </a:t>
            </a:r>
          </a:p>
        </p:txBody>
      </p:sp>
      <p:sp>
        <p:nvSpPr>
          <p:cNvPr id="15" name="Text Placeholder 6">
            <a:extLst>
              <a:ext uri="{FF2B5EF4-FFF2-40B4-BE49-F238E27FC236}">
                <a16:creationId xmlns:a16="http://schemas.microsoft.com/office/drawing/2014/main" id="{E33ED2D1-B7FA-23AF-1893-AEA8EBF972F9}"/>
              </a:ext>
            </a:extLst>
          </p:cNvPr>
          <p:cNvSpPr txBox="1">
            <a:spLocks/>
          </p:cNvSpPr>
          <p:nvPr/>
        </p:nvSpPr>
        <p:spPr>
          <a:xfrm>
            <a:off x="1113856" y="4110036"/>
            <a:ext cx="3506985" cy="492443"/>
          </a:xfrm>
          <a:prstGeom prst="rect">
            <a:avLst/>
          </a:prstGeom>
        </p:spPr>
        <p:txBody>
          <a:bodyPr wrap="square" lIns="0" tIns="0" rIns="0" bIns="0" anchor="b">
            <a:noAutofit/>
          </a:bodyPr>
          <a:lstStyle>
            <a:lvl1pPr marL="0" indent="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b="1" kern="1200" baseline="0">
                <a:gradFill>
                  <a:gsLst>
                    <a:gs pos="0">
                      <a:schemeClr val="accent1"/>
                    </a:gs>
                    <a:gs pos="100000">
                      <a:schemeClr val="accent5"/>
                    </a:gs>
                  </a:gsLst>
                  <a:lin ang="0" scaled="1"/>
                </a:gra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dirty="0">
                <a:gradFill>
                  <a:gsLst>
                    <a:gs pos="0">
                      <a:schemeClr val="accent6"/>
                    </a:gs>
                    <a:gs pos="100000">
                      <a:schemeClr val="accent5"/>
                    </a:gs>
                  </a:gsLst>
                  <a:lin ang="0" scaled="1"/>
                </a:gradFill>
              </a:rPr>
              <a:t>LOGIQ</a:t>
            </a:r>
          </a:p>
        </p:txBody>
      </p:sp>
      <p:sp>
        <p:nvSpPr>
          <p:cNvPr id="16" name="Text Placeholder 6">
            <a:extLst>
              <a:ext uri="{FF2B5EF4-FFF2-40B4-BE49-F238E27FC236}">
                <a16:creationId xmlns:a16="http://schemas.microsoft.com/office/drawing/2014/main" id="{85FDDB9E-79D0-E69A-8816-7BB81B4B3C7F}"/>
              </a:ext>
            </a:extLst>
          </p:cNvPr>
          <p:cNvSpPr txBox="1">
            <a:spLocks/>
          </p:cNvSpPr>
          <p:nvPr/>
        </p:nvSpPr>
        <p:spPr>
          <a:xfrm>
            <a:off x="1113856" y="4726812"/>
            <a:ext cx="3506985" cy="820737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>
            <a:lvl1pPr marL="0" indent="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700"/>
              </a:spcAft>
              <a:buFont typeface="Arial" panose="020B0604020202020204" pitchFamily="34" charset="0"/>
              <a:buNone/>
              <a:defRPr sz="1000" b="0" kern="1200" spc="-2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 sz="1333" dirty="0" err="1"/>
              <a:t>Det</a:t>
            </a:r>
            <a:r>
              <a:rPr lang="fr-FR" sz="1333" dirty="0"/>
              <a:t> </a:t>
            </a:r>
            <a:r>
              <a:rPr lang="fr-FR" sz="1333" dirty="0" err="1"/>
              <a:t>arbeides</a:t>
            </a:r>
            <a:r>
              <a:rPr lang="fr-FR" sz="1333" dirty="0"/>
              <a:t> </a:t>
            </a:r>
            <a:r>
              <a:rPr lang="fr-FR" sz="1333" dirty="0" err="1"/>
              <a:t>med</a:t>
            </a:r>
            <a:r>
              <a:rPr lang="fr-FR" sz="1333" dirty="0"/>
              <a:t> en </a:t>
            </a:r>
            <a:r>
              <a:rPr lang="fr-FR" sz="1333" dirty="0" err="1"/>
              <a:t>sentral</a:t>
            </a:r>
            <a:r>
              <a:rPr lang="fr-FR" sz="1333" dirty="0"/>
              <a:t> </a:t>
            </a:r>
            <a:r>
              <a:rPr lang="fr-FR" sz="1333" dirty="0" err="1"/>
              <a:t>avtale</a:t>
            </a:r>
            <a:r>
              <a:rPr lang="fr-FR" sz="1333" dirty="0"/>
              <a:t> </a:t>
            </a:r>
            <a:r>
              <a:rPr lang="fr-FR" sz="1333" dirty="0" err="1"/>
              <a:t>som</a:t>
            </a:r>
            <a:r>
              <a:rPr lang="fr-FR" sz="1333" dirty="0"/>
              <a:t> </a:t>
            </a:r>
            <a:r>
              <a:rPr lang="fr-FR" sz="1333" dirty="0" err="1"/>
              <a:t>kommer</a:t>
            </a:r>
            <a:r>
              <a:rPr lang="fr-FR" sz="1333" dirty="0"/>
              <a:t> </a:t>
            </a:r>
            <a:r>
              <a:rPr lang="fr-FR" sz="1333" dirty="0" err="1"/>
              <a:t>til</a:t>
            </a:r>
            <a:r>
              <a:rPr lang="fr-FR" sz="1333" dirty="0"/>
              <a:t> å gi </a:t>
            </a:r>
            <a:r>
              <a:rPr lang="fr-FR" sz="1333" dirty="0" err="1"/>
              <a:t>enklere</a:t>
            </a:r>
            <a:r>
              <a:rPr lang="fr-FR" sz="1333" dirty="0"/>
              <a:t> </a:t>
            </a:r>
            <a:r>
              <a:rPr lang="fr-FR" sz="1333" dirty="0" err="1"/>
              <a:t>forvaltning</a:t>
            </a:r>
            <a:r>
              <a:rPr lang="fr-FR" sz="1333" dirty="0"/>
              <a:t> av EDI, </a:t>
            </a:r>
            <a:r>
              <a:rPr lang="fr-FR" sz="1333" dirty="0" err="1"/>
              <a:t>spesielt</a:t>
            </a:r>
            <a:r>
              <a:rPr lang="fr-FR" sz="1333" dirty="0"/>
              <a:t> </a:t>
            </a:r>
            <a:r>
              <a:rPr lang="fr-FR" sz="1333" dirty="0" err="1"/>
              <a:t>på</a:t>
            </a:r>
            <a:r>
              <a:rPr lang="fr-FR" sz="1333" dirty="0"/>
              <a:t> </a:t>
            </a:r>
            <a:r>
              <a:rPr lang="fr-FR" sz="1333" dirty="0" err="1"/>
              <a:t>innkjøpssiden</a:t>
            </a:r>
            <a:endParaRPr lang="fr-FR" sz="1333" dirty="0"/>
          </a:p>
        </p:txBody>
      </p:sp>
      <p:sp>
        <p:nvSpPr>
          <p:cNvPr id="17" name="Text Placeholder 6">
            <a:extLst>
              <a:ext uri="{FF2B5EF4-FFF2-40B4-BE49-F238E27FC236}">
                <a16:creationId xmlns:a16="http://schemas.microsoft.com/office/drawing/2014/main" id="{E438C989-13C4-6C84-B669-70A6CEF9FEE1}"/>
              </a:ext>
            </a:extLst>
          </p:cNvPr>
          <p:cNvSpPr txBox="1">
            <a:spLocks/>
          </p:cNvSpPr>
          <p:nvPr/>
        </p:nvSpPr>
        <p:spPr>
          <a:xfrm>
            <a:off x="7571156" y="1951631"/>
            <a:ext cx="3506989" cy="492443"/>
          </a:xfrm>
          <a:prstGeom prst="rect">
            <a:avLst/>
          </a:prstGeom>
        </p:spPr>
        <p:txBody>
          <a:bodyPr wrap="square" lIns="0" tIns="0" rIns="0" bIns="0" anchor="b">
            <a:noAutofit/>
          </a:bodyPr>
          <a:lstStyle>
            <a:lvl1pPr marL="0" indent="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b="1" kern="1200" baseline="0">
                <a:gradFill>
                  <a:gsLst>
                    <a:gs pos="0">
                      <a:schemeClr val="accent1"/>
                    </a:gs>
                    <a:gs pos="100000">
                      <a:schemeClr val="accent5"/>
                    </a:gs>
                  </a:gsLst>
                  <a:lin ang="0" scaled="1"/>
                </a:gra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dirty="0">
                <a:gradFill>
                  <a:gsLst>
                    <a:gs pos="0">
                      <a:schemeClr val="accent6"/>
                    </a:gs>
                    <a:gs pos="100000">
                      <a:schemeClr val="accent5"/>
                    </a:gs>
                  </a:gsLst>
                  <a:lin ang="0" scaled="1"/>
                </a:gradFill>
              </a:rPr>
              <a:t>RELEX</a:t>
            </a:r>
          </a:p>
        </p:txBody>
      </p:sp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F4619C93-2F3F-5C82-B4D4-3555A22C8A14}"/>
              </a:ext>
            </a:extLst>
          </p:cNvPr>
          <p:cNvSpPr txBox="1">
            <a:spLocks/>
          </p:cNvSpPr>
          <p:nvPr/>
        </p:nvSpPr>
        <p:spPr>
          <a:xfrm>
            <a:off x="7571156" y="2568406"/>
            <a:ext cx="3506989" cy="820737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>
            <a:lvl1pPr marL="0" indent="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700"/>
              </a:spcAft>
              <a:buFont typeface="Arial" panose="020B0604020202020204" pitchFamily="34" charset="0"/>
              <a:buNone/>
              <a:defRPr sz="1000" b="0" kern="1200" spc="-2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 sz="1333" dirty="0" err="1"/>
              <a:t>Kampanje</a:t>
            </a:r>
            <a:r>
              <a:rPr lang="fr-FR" sz="1333" dirty="0"/>
              <a:t> </a:t>
            </a:r>
            <a:r>
              <a:rPr lang="fr-FR" sz="1333" dirty="0" err="1"/>
              <a:t>og</a:t>
            </a:r>
            <a:r>
              <a:rPr lang="fr-FR" sz="1333" dirty="0"/>
              <a:t> </a:t>
            </a:r>
            <a:r>
              <a:rPr lang="fr-FR" sz="1333" dirty="0" err="1"/>
              <a:t>prognoser</a:t>
            </a:r>
            <a:endParaRPr lang="fr-FR" sz="1333" dirty="0"/>
          </a:p>
          <a:p>
            <a:r>
              <a:rPr lang="fr-FR" sz="1333" dirty="0"/>
              <a:t>Alle </a:t>
            </a:r>
            <a:r>
              <a:rPr lang="fr-FR" sz="1333" dirty="0" err="1"/>
              <a:t>sentrale</a:t>
            </a:r>
            <a:r>
              <a:rPr lang="fr-FR" sz="1333" dirty="0"/>
              <a:t> </a:t>
            </a:r>
            <a:r>
              <a:rPr lang="fr-FR" sz="1333" dirty="0" err="1"/>
              <a:t>kampanjer</a:t>
            </a:r>
            <a:r>
              <a:rPr lang="fr-FR" sz="1333" dirty="0"/>
              <a:t> vil </a:t>
            </a:r>
            <a:r>
              <a:rPr lang="fr-FR" sz="1333" dirty="0" err="1"/>
              <a:t>sendes</a:t>
            </a:r>
            <a:r>
              <a:rPr lang="fr-FR" sz="1333" dirty="0"/>
              <a:t> fra Relex</a:t>
            </a:r>
          </a:p>
        </p:txBody>
      </p:sp>
      <p:sp>
        <p:nvSpPr>
          <p:cNvPr id="19" name="Text Placeholder 6">
            <a:extLst>
              <a:ext uri="{FF2B5EF4-FFF2-40B4-BE49-F238E27FC236}">
                <a16:creationId xmlns:a16="http://schemas.microsoft.com/office/drawing/2014/main" id="{E1F5A095-553D-E197-1BAE-03CA380E38A0}"/>
              </a:ext>
            </a:extLst>
          </p:cNvPr>
          <p:cNvSpPr txBox="1">
            <a:spLocks/>
          </p:cNvSpPr>
          <p:nvPr/>
        </p:nvSpPr>
        <p:spPr>
          <a:xfrm>
            <a:off x="7571156" y="4110036"/>
            <a:ext cx="3506989" cy="492443"/>
          </a:xfrm>
          <a:prstGeom prst="rect">
            <a:avLst/>
          </a:prstGeom>
        </p:spPr>
        <p:txBody>
          <a:bodyPr wrap="square" lIns="0" tIns="0" rIns="0" bIns="0" anchor="b">
            <a:noAutofit/>
          </a:bodyPr>
          <a:lstStyle>
            <a:lvl1pPr marL="0" indent="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b="1" kern="1200" baseline="0">
                <a:gradFill>
                  <a:gsLst>
                    <a:gs pos="0">
                      <a:schemeClr val="accent1"/>
                    </a:gs>
                    <a:gs pos="100000">
                      <a:schemeClr val="accent5"/>
                    </a:gs>
                  </a:gsLst>
                  <a:lin ang="0" scaled="1"/>
                </a:gra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dirty="0">
                <a:gradFill>
                  <a:gsLst>
                    <a:gs pos="0">
                      <a:schemeClr val="accent6"/>
                    </a:gs>
                    <a:gs pos="100000">
                      <a:schemeClr val="accent5"/>
                    </a:gs>
                  </a:gsLst>
                  <a:lin ang="0" scaled="1"/>
                </a:gradFill>
              </a:rPr>
              <a:t>KUNDEKLUBB / VOYADO</a:t>
            </a:r>
          </a:p>
        </p:txBody>
      </p:sp>
      <p:sp>
        <p:nvSpPr>
          <p:cNvPr id="20" name="Text Placeholder 6">
            <a:extLst>
              <a:ext uri="{FF2B5EF4-FFF2-40B4-BE49-F238E27FC236}">
                <a16:creationId xmlns:a16="http://schemas.microsoft.com/office/drawing/2014/main" id="{27258549-FB46-9411-1B66-7641596A4BEF}"/>
              </a:ext>
            </a:extLst>
          </p:cNvPr>
          <p:cNvSpPr txBox="1">
            <a:spLocks/>
          </p:cNvSpPr>
          <p:nvPr/>
        </p:nvSpPr>
        <p:spPr>
          <a:xfrm>
            <a:off x="7571156" y="4726812"/>
            <a:ext cx="3506989" cy="820737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>
            <a:lvl1pPr marL="0" indent="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700"/>
              </a:spcAft>
              <a:buFont typeface="Arial" panose="020B0604020202020204" pitchFamily="34" charset="0"/>
              <a:buNone/>
              <a:defRPr sz="1000" b="0" kern="1200" spc="-2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 sz="1333" dirty="0" err="1"/>
              <a:t>Tettere</a:t>
            </a:r>
            <a:r>
              <a:rPr lang="fr-FR" sz="1333" dirty="0"/>
              <a:t> </a:t>
            </a:r>
            <a:r>
              <a:rPr lang="fr-FR" sz="1333" dirty="0" err="1"/>
              <a:t>integrert</a:t>
            </a:r>
            <a:r>
              <a:rPr lang="fr-FR" sz="1333" dirty="0"/>
              <a:t> </a:t>
            </a:r>
            <a:r>
              <a:rPr lang="fr-FR" sz="1333" dirty="0" err="1"/>
              <a:t>med</a:t>
            </a:r>
            <a:r>
              <a:rPr lang="fr-FR" sz="1333" dirty="0"/>
              <a:t> </a:t>
            </a:r>
            <a:r>
              <a:rPr lang="fr-FR" sz="1333" dirty="0" err="1"/>
              <a:t>kundeklubben</a:t>
            </a:r>
            <a:r>
              <a:rPr lang="fr-FR" sz="1333" dirty="0"/>
              <a:t> for å </a:t>
            </a:r>
            <a:r>
              <a:rPr lang="fr-FR" sz="1333" dirty="0" err="1"/>
              <a:t>hente</a:t>
            </a:r>
            <a:r>
              <a:rPr lang="fr-FR" sz="1333" dirty="0"/>
              <a:t> </a:t>
            </a:r>
            <a:r>
              <a:rPr lang="fr-FR" sz="1333" dirty="0" err="1"/>
              <a:t>kundepriser</a:t>
            </a:r>
            <a:r>
              <a:rPr lang="fr-FR" sz="1333" dirty="0"/>
              <a:t> </a:t>
            </a:r>
            <a:r>
              <a:rPr lang="fr-FR" sz="1333" dirty="0" err="1"/>
              <a:t>til</a:t>
            </a:r>
            <a:r>
              <a:rPr lang="fr-FR" sz="1333" dirty="0"/>
              <a:t> </a:t>
            </a:r>
            <a:r>
              <a:rPr lang="fr-FR" sz="1333" dirty="0" err="1"/>
              <a:t>VisionPoint</a:t>
            </a:r>
            <a:r>
              <a:rPr lang="fr-FR" sz="1333" dirty="0"/>
              <a:t>, </a:t>
            </a:r>
            <a:r>
              <a:rPr lang="fr-FR" sz="1333" dirty="0" err="1"/>
              <a:t>både</a:t>
            </a:r>
            <a:r>
              <a:rPr lang="fr-FR" sz="1333" dirty="0"/>
              <a:t> for </a:t>
            </a:r>
            <a:r>
              <a:rPr lang="fr-FR" sz="1333" dirty="0" err="1"/>
              <a:t>proffkunder</a:t>
            </a:r>
            <a:r>
              <a:rPr lang="fr-FR" sz="1333" dirty="0"/>
              <a:t> </a:t>
            </a:r>
            <a:r>
              <a:rPr lang="fr-FR" sz="1333" dirty="0" err="1"/>
              <a:t>og</a:t>
            </a:r>
            <a:r>
              <a:rPr lang="fr-FR" sz="1333" dirty="0"/>
              <a:t> </a:t>
            </a:r>
            <a:r>
              <a:rPr lang="fr-FR" sz="1333" dirty="0" err="1"/>
              <a:t>privatkunder</a:t>
            </a:r>
            <a:endParaRPr lang="fr-FR" sz="1333" dirty="0"/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578964A1-049D-C84C-1D2B-EDA931885FD0}"/>
              </a:ext>
            </a:extLst>
          </p:cNvPr>
          <p:cNvCxnSpPr>
            <a:cxnSpLocks/>
          </p:cNvCxnSpPr>
          <p:nvPr/>
        </p:nvCxnSpPr>
        <p:spPr>
          <a:xfrm flipH="1">
            <a:off x="815413" y="3714308"/>
            <a:ext cx="4080000" cy="0"/>
          </a:xfrm>
          <a:prstGeom prst="line">
            <a:avLst/>
          </a:prstGeom>
          <a:ln>
            <a:gradFill flip="none" rotWithShape="1">
              <a:gsLst>
                <a:gs pos="0">
                  <a:schemeClr val="accent5"/>
                </a:gs>
                <a:gs pos="100000">
                  <a:schemeClr val="accent6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5E6EB194-F212-098E-8493-C46EF4D5B08D}"/>
              </a:ext>
            </a:extLst>
          </p:cNvPr>
          <p:cNvCxnSpPr>
            <a:cxnSpLocks/>
          </p:cNvCxnSpPr>
          <p:nvPr/>
        </p:nvCxnSpPr>
        <p:spPr>
          <a:xfrm flipH="1">
            <a:off x="7296587" y="3714308"/>
            <a:ext cx="4080000" cy="0"/>
          </a:xfrm>
          <a:prstGeom prst="line">
            <a:avLst/>
          </a:prstGeom>
          <a:ln>
            <a:gradFill flip="none" rotWithShape="1">
              <a:gsLst>
                <a:gs pos="0">
                  <a:schemeClr val="accent5"/>
                </a:gs>
                <a:gs pos="100000">
                  <a:schemeClr val="accent6"/>
                </a:gs>
              </a:gsLst>
              <a:lin ang="1080000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7FAE89E3-F35B-B8DE-805D-ECFFEAD7F913}"/>
              </a:ext>
            </a:extLst>
          </p:cNvPr>
          <p:cNvCxnSpPr>
            <a:cxnSpLocks/>
          </p:cNvCxnSpPr>
          <p:nvPr/>
        </p:nvCxnSpPr>
        <p:spPr>
          <a:xfrm rot="16200000" flipH="1">
            <a:off x="5615999" y="2035432"/>
            <a:ext cx="960000" cy="0"/>
          </a:xfrm>
          <a:prstGeom prst="line">
            <a:avLst/>
          </a:prstGeom>
          <a:ln>
            <a:gradFill flip="none" rotWithShape="1">
              <a:gsLst>
                <a:gs pos="0">
                  <a:schemeClr val="accent5"/>
                </a:gs>
                <a:gs pos="100000">
                  <a:schemeClr val="accent6"/>
                </a:gs>
              </a:gsLst>
              <a:lin ang="270000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9A0AADA6-3B46-43FF-11BE-99A8F6DB1C37}"/>
              </a:ext>
            </a:extLst>
          </p:cNvPr>
          <p:cNvCxnSpPr>
            <a:cxnSpLocks/>
          </p:cNvCxnSpPr>
          <p:nvPr/>
        </p:nvCxnSpPr>
        <p:spPr>
          <a:xfrm rot="5400000" flipH="1" flipV="1">
            <a:off x="5615999" y="5393183"/>
            <a:ext cx="960000" cy="0"/>
          </a:xfrm>
          <a:prstGeom prst="line">
            <a:avLst/>
          </a:prstGeom>
          <a:ln>
            <a:gradFill flip="none" rotWithShape="1">
              <a:gsLst>
                <a:gs pos="0">
                  <a:schemeClr val="accent5"/>
                </a:gs>
                <a:gs pos="100000">
                  <a:schemeClr val="accent6"/>
                </a:gs>
              </a:gsLst>
              <a:lin ang="540000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Picture Placeholder 62">
            <a:extLst>
              <a:ext uri="{FF2B5EF4-FFF2-40B4-BE49-F238E27FC236}">
                <a16:creationId xmlns:a16="http://schemas.microsoft.com/office/drawing/2014/main" id="{CBE05BC7-7E6B-1152-4397-4B5C04DF6843}"/>
              </a:ext>
            </a:extLst>
          </p:cNvPr>
          <p:cNvSpPr/>
          <p:nvPr/>
        </p:nvSpPr>
        <p:spPr>
          <a:xfrm>
            <a:off x="5501292" y="3124585"/>
            <a:ext cx="406361" cy="412936"/>
          </a:xfrm>
          <a:custGeom>
            <a:avLst/>
            <a:gdLst>
              <a:gd name="connsiteX0" fmla="*/ 157931 w 304771"/>
              <a:gd name="connsiteY0" fmla="*/ 26726 h 309702"/>
              <a:gd name="connsiteX1" fmla="*/ 145340 w 304771"/>
              <a:gd name="connsiteY1" fmla="*/ 39317 h 309702"/>
              <a:gd name="connsiteX2" fmla="*/ 132749 w 304771"/>
              <a:gd name="connsiteY2" fmla="*/ 39317 h 309702"/>
              <a:gd name="connsiteX3" fmla="*/ 132749 w 304771"/>
              <a:gd name="connsiteY3" fmla="*/ 26726 h 309702"/>
              <a:gd name="connsiteX4" fmla="*/ 145340 w 304771"/>
              <a:gd name="connsiteY4" fmla="*/ 14135 h 309702"/>
              <a:gd name="connsiteX5" fmla="*/ 157931 w 304771"/>
              <a:gd name="connsiteY5" fmla="*/ 26726 h 309702"/>
              <a:gd name="connsiteX6" fmla="*/ 118059 w 304771"/>
              <a:gd name="connsiteY6" fmla="*/ 39317 h 309702"/>
              <a:gd name="connsiteX7" fmla="*/ 105468 w 304771"/>
              <a:gd name="connsiteY7" fmla="*/ 39317 h 309702"/>
              <a:gd name="connsiteX8" fmla="*/ 92877 w 304771"/>
              <a:gd name="connsiteY8" fmla="*/ 26726 h 309702"/>
              <a:gd name="connsiteX9" fmla="*/ 105468 w 304771"/>
              <a:gd name="connsiteY9" fmla="*/ 14135 h 309702"/>
              <a:gd name="connsiteX10" fmla="*/ 118059 w 304771"/>
              <a:gd name="connsiteY10" fmla="*/ 26726 h 309702"/>
              <a:gd name="connsiteX11" fmla="*/ 210814 w 304771"/>
              <a:gd name="connsiteY11" fmla="*/ 78684 h 309702"/>
              <a:gd name="connsiteX12" fmla="*/ 210814 w 304771"/>
              <a:gd name="connsiteY12" fmla="*/ 50900 h 309702"/>
              <a:gd name="connsiteX13" fmla="*/ 203469 w 304771"/>
              <a:gd name="connsiteY13" fmla="*/ 43556 h 309702"/>
              <a:gd name="connsiteX14" fmla="*/ 166766 w 304771"/>
              <a:gd name="connsiteY14" fmla="*/ 43556 h 309702"/>
              <a:gd name="connsiteX15" fmla="*/ 160821 w 304771"/>
              <a:gd name="connsiteY15" fmla="*/ 5437 h 309702"/>
              <a:gd name="connsiteX16" fmla="*/ 125404 w 304771"/>
              <a:gd name="connsiteY16" fmla="*/ 8218 h 309702"/>
              <a:gd name="connsiteX17" fmla="*/ 86825 w 304771"/>
              <a:gd name="connsiteY17" fmla="*/ 7765 h 309702"/>
              <a:gd name="connsiteX18" fmla="*/ 84042 w 304771"/>
              <a:gd name="connsiteY18" fmla="*/ 43619 h 309702"/>
              <a:gd name="connsiteX19" fmla="*/ 47339 w 304771"/>
              <a:gd name="connsiteY19" fmla="*/ 43619 h 309702"/>
              <a:gd name="connsiteX20" fmla="*/ 39994 w 304771"/>
              <a:gd name="connsiteY20" fmla="*/ 50963 h 309702"/>
              <a:gd name="connsiteX21" fmla="*/ 39994 w 304771"/>
              <a:gd name="connsiteY21" fmla="*/ 78747 h 309702"/>
              <a:gd name="connsiteX22" fmla="*/ 47339 w 304771"/>
              <a:gd name="connsiteY22" fmla="*/ 86091 h 309702"/>
              <a:gd name="connsiteX23" fmla="*/ 55145 w 304771"/>
              <a:gd name="connsiteY23" fmla="*/ 86091 h 309702"/>
              <a:gd name="connsiteX24" fmla="*/ 55145 w 304771"/>
              <a:gd name="connsiteY24" fmla="*/ 147975 h 309702"/>
              <a:gd name="connsiteX25" fmla="*/ 62490 w 304771"/>
              <a:gd name="connsiteY25" fmla="*/ 155319 h 309702"/>
              <a:gd name="connsiteX26" fmla="*/ 69835 w 304771"/>
              <a:gd name="connsiteY26" fmla="*/ 147975 h 309702"/>
              <a:gd name="connsiteX27" fmla="*/ 69835 w 304771"/>
              <a:gd name="connsiteY27" fmla="*/ 78726 h 309702"/>
              <a:gd name="connsiteX28" fmla="*/ 62490 w 304771"/>
              <a:gd name="connsiteY28" fmla="*/ 71381 h 309702"/>
              <a:gd name="connsiteX29" fmla="*/ 54683 w 304771"/>
              <a:gd name="connsiteY29" fmla="*/ 71381 h 309702"/>
              <a:gd name="connsiteX30" fmla="*/ 54683 w 304771"/>
              <a:gd name="connsiteY30" fmla="*/ 58245 h 309702"/>
              <a:gd name="connsiteX31" fmla="*/ 196104 w 304771"/>
              <a:gd name="connsiteY31" fmla="*/ 58245 h 309702"/>
              <a:gd name="connsiteX32" fmla="*/ 196104 w 304771"/>
              <a:gd name="connsiteY32" fmla="*/ 71339 h 309702"/>
              <a:gd name="connsiteX33" fmla="*/ 110064 w 304771"/>
              <a:gd name="connsiteY33" fmla="*/ 71339 h 309702"/>
              <a:gd name="connsiteX34" fmla="*/ 102719 w 304771"/>
              <a:gd name="connsiteY34" fmla="*/ 78684 h 309702"/>
              <a:gd name="connsiteX35" fmla="*/ 110064 w 304771"/>
              <a:gd name="connsiteY35" fmla="*/ 86028 h 309702"/>
              <a:gd name="connsiteX36" fmla="*/ 178728 w 304771"/>
              <a:gd name="connsiteY36" fmla="*/ 86028 h 309702"/>
              <a:gd name="connsiteX37" fmla="*/ 178728 w 304771"/>
              <a:gd name="connsiteY37" fmla="*/ 147912 h 309702"/>
              <a:gd name="connsiteX38" fmla="*/ 186073 w 304771"/>
              <a:gd name="connsiteY38" fmla="*/ 155257 h 309702"/>
              <a:gd name="connsiteX39" fmla="*/ 193417 w 304771"/>
              <a:gd name="connsiteY39" fmla="*/ 147912 h 309702"/>
              <a:gd name="connsiteX40" fmla="*/ 193417 w 304771"/>
              <a:gd name="connsiteY40" fmla="*/ 86028 h 309702"/>
              <a:gd name="connsiteX41" fmla="*/ 203365 w 304771"/>
              <a:gd name="connsiteY41" fmla="*/ 86028 h 309702"/>
              <a:gd name="connsiteX42" fmla="*/ 210709 w 304771"/>
              <a:gd name="connsiteY42" fmla="*/ 78684 h 309702"/>
              <a:gd name="connsiteX43" fmla="*/ 44149 w 304771"/>
              <a:gd name="connsiteY43" fmla="*/ 227485 h 309702"/>
              <a:gd name="connsiteX44" fmla="*/ 34714 w 304771"/>
              <a:gd name="connsiteY44" fmla="*/ 236937 h 309702"/>
              <a:gd name="connsiteX45" fmla="*/ 25262 w 304771"/>
              <a:gd name="connsiteY45" fmla="*/ 227502 h 309702"/>
              <a:gd name="connsiteX46" fmla="*/ 28032 w 304771"/>
              <a:gd name="connsiteY46" fmla="*/ 220812 h 309702"/>
              <a:gd name="connsiteX47" fmla="*/ 34328 w 304771"/>
              <a:gd name="connsiteY47" fmla="*/ 214517 h 309702"/>
              <a:gd name="connsiteX48" fmla="*/ 35755 w 304771"/>
              <a:gd name="connsiteY48" fmla="*/ 215944 h 309702"/>
              <a:gd name="connsiteX49" fmla="*/ 37853 w 304771"/>
              <a:gd name="connsiteY49" fmla="*/ 217371 h 309702"/>
              <a:gd name="connsiteX50" fmla="*/ 41337 w 304771"/>
              <a:gd name="connsiteY50" fmla="*/ 220854 h 309702"/>
              <a:gd name="connsiteX51" fmla="*/ 44107 w 304771"/>
              <a:gd name="connsiteY51" fmla="*/ 227527 h 309702"/>
              <a:gd name="connsiteX52" fmla="*/ 295784 w 304771"/>
              <a:gd name="connsiteY52" fmla="*/ 129634 h 309702"/>
              <a:gd name="connsiteX53" fmla="*/ 251547 w 304771"/>
              <a:gd name="connsiteY53" fmla="*/ 129089 h 309702"/>
              <a:gd name="connsiteX54" fmla="*/ 251211 w 304771"/>
              <a:gd name="connsiteY54" fmla="*/ 129383 h 309702"/>
              <a:gd name="connsiteX55" fmla="*/ 196859 w 304771"/>
              <a:gd name="connsiteY55" fmla="*/ 178570 h 309702"/>
              <a:gd name="connsiteX56" fmla="*/ 168739 w 304771"/>
              <a:gd name="connsiteY56" fmla="*/ 159915 h 309702"/>
              <a:gd name="connsiteX57" fmla="*/ 167920 w 304771"/>
              <a:gd name="connsiteY57" fmla="*/ 159915 h 309702"/>
              <a:gd name="connsiteX58" fmla="*/ 116926 w 304771"/>
              <a:gd name="connsiteY58" fmla="*/ 159915 h 309702"/>
              <a:gd name="connsiteX59" fmla="*/ 35524 w 304771"/>
              <a:gd name="connsiteY59" fmla="*/ 193490 h 309702"/>
              <a:gd name="connsiteX60" fmla="*/ 34768 w 304771"/>
              <a:gd name="connsiteY60" fmla="*/ 194141 h 309702"/>
              <a:gd name="connsiteX61" fmla="*/ 12629 w 304771"/>
              <a:gd name="connsiteY61" fmla="*/ 171897 h 309702"/>
              <a:gd name="connsiteX62" fmla="*/ 2189 w 304771"/>
              <a:gd name="connsiteY62" fmla="*/ 171845 h 309702"/>
              <a:gd name="connsiteX63" fmla="*/ 2136 w 304771"/>
              <a:gd name="connsiteY63" fmla="*/ 182285 h 309702"/>
              <a:gd name="connsiteX64" fmla="*/ 23898 w 304771"/>
              <a:gd name="connsiteY64" fmla="*/ 204046 h 309702"/>
              <a:gd name="connsiteX65" fmla="*/ 17602 w 304771"/>
              <a:gd name="connsiteY65" fmla="*/ 210341 h 309702"/>
              <a:gd name="connsiteX66" fmla="*/ 17595 w 304771"/>
              <a:gd name="connsiteY66" fmla="*/ 244468 h 309702"/>
              <a:gd name="connsiteX67" fmla="*/ 51724 w 304771"/>
              <a:gd name="connsiteY67" fmla="*/ 244477 h 309702"/>
              <a:gd name="connsiteX68" fmla="*/ 51732 w 304771"/>
              <a:gd name="connsiteY68" fmla="*/ 210347 h 309702"/>
              <a:gd name="connsiteX69" fmla="*/ 51724 w 304771"/>
              <a:gd name="connsiteY69" fmla="*/ 210341 h 309702"/>
              <a:gd name="connsiteX70" fmla="*/ 45429 w 304771"/>
              <a:gd name="connsiteY70" fmla="*/ 204046 h 309702"/>
              <a:gd name="connsiteX71" fmla="*/ 45597 w 304771"/>
              <a:gd name="connsiteY71" fmla="*/ 203899 h 309702"/>
              <a:gd name="connsiteX72" fmla="*/ 116821 w 304771"/>
              <a:gd name="connsiteY72" fmla="*/ 174394 h 309702"/>
              <a:gd name="connsiteX73" fmla="*/ 167396 w 304771"/>
              <a:gd name="connsiteY73" fmla="*/ 174394 h 309702"/>
              <a:gd name="connsiteX74" fmla="*/ 184897 w 304771"/>
              <a:gd name="connsiteY74" fmla="*/ 191413 h 309702"/>
              <a:gd name="connsiteX75" fmla="*/ 167396 w 304771"/>
              <a:gd name="connsiteY75" fmla="*/ 208431 h 309702"/>
              <a:gd name="connsiteX76" fmla="*/ 132707 w 304771"/>
              <a:gd name="connsiteY76" fmla="*/ 208431 h 309702"/>
              <a:gd name="connsiteX77" fmla="*/ 125362 w 304771"/>
              <a:gd name="connsiteY77" fmla="*/ 215776 h 309702"/>
              <a:gd name="connsiteX78" fmla="*/ 132707 w 304771"/>
              <a:gd name="connsiteY78" fmla="*/ 223121 h 309702"/>
              <a:gd name="connsiteX79" fmla="*/ 167983 w 304771"/>
              <a:gd name="connsiteY79" fmla="*/ 223121 h 309702"/>
              <a:gd name="connsiteX80" fmla="*/ 168802 w 304771"/>
              <a:gd name="connsiteY80" fmla="*/ 223121 h 309702"/>
              <a:gd name="connsiteX81" fmla="*/ 199398 w 304771"/>
              <a:gd name="connsiteY81" fmla="*/ 195841 h 309702"/>
              <a:gd name="connsiteX82" fmla="*/ 200196 w 304771"/>
              <a:gd name="connsiteY82" fmla="*/ 195253 h 309702"/>
              <a:gd name="connsiteX83" fmla="*/ 260906 w 304771"/>
              <a:gd name="connsiteY83" fmla="*/ 140420 h 309702"/>
              <a:gd name="connsiteX84" fmla="*/ 285459 w 304771"/>
              <a:gd name="connsiteY84" fmla="*/ 139980 h 309702"/>
              <a:gd name="connsiteX85" fmla="*/ 285228 w 304771"/>
              <a:gd name="connsiteY85" fmla="*/ 164238 h 309702"/>
              <a:gd name="connsiteX86" fmla="*/ 197636 w 304771"/>
              <a:gd name="connsiteY86" fmla="*/ 243245 h 309702"/>
              <a:gd name="connsiteX87" fmla="*/ 197363 w 304771"/>
              <a:gd name="connsiteY87" fmla="*/ 243497 h 309702"/>
              <a:gd name="connsiteX88" fmla="*/ 181120 w 304771"/>
              <a:gd name="connsiteY88" fmla="*/ 250233 h 309702"/>
              <a:gd name="connsiteX89" fmla="*/ 116758 w 304771"/>
              <a:gd name="connsiteY89" fmla="*/ 250233 h 309702"/>
              <a:gd name="connsiteX90" fmla="*/ 63371 w 304771"/>
              <a:gd name="connsiteY90" fmla="*/ 301015 h 309702"/>
              <a:gd name="connsiteX91" fmla="*/ 69226 w 304771"/>
              <a:gd name="connsiteY91" fmla="*/ 309577 h 309702"/>
              <a:gd name="connsiteX92" fmla="*/ 70590 w 304771"/>
              <a:gd name="connsiteY92" fmla="*/ 309703 h 309702"/>
              <a:gd name="connsiteX93" fmla="*/ 77809 w 304771"/>
              <a:gd name="connsiteY93" fmla="*/ 303743 h 309702"/>
              <a:gd name="connsiteX94" fmla="*/ 116758 w 304771"/>
              <a:gd name="connsiteY94" fmla="*/ 264922 h 309702"/>
              <a:gd name="connsiteX95" fmla="*/ 181120 w 304771"/>
              <a:gd name="connsiteY95" fmla="*/ 264922 h 309702"/>
              <a:gd name="connsiteX96" fmla="*/ 207562 w 304771"/>
              <a:gd name="connsiteY96" fmla="*/ 254010 h 309702"/>
              <a:gd name="connsiteX97" fmla="*/ 295532 w 304771"/>
              <a:gd name="connsiteY97" fmla="*/ 174709 h 309702"/>
              <a:gd name="connsiteX98" fmla="*/ 296351 w 304771"/>
              <a:gd name="connsiteY98" fmla="*/ 173849 h 309702"/>
              <a:gd name="connsiteX99" fmla="*/ 295805 w 304771"/>
              <a:gd name="connsiteY99" fmla="*/ 129613 h 3097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</a:cxnLst>
            <a:rect l="l" t="t" r="r" b="b"/>
            <a:pathLst>
              <a:path w="304771" h="309702">
                <a:moveTo>
                  <a:pt x="157931" y="26726"/>
                </a:moveTo>
                <a:cubicBezTo>
                  <a:pt x="157931" y="33680"/>
                  <a:pt x="152295" y="39317"/>
                  <a:pt x="145340" y="39317"/>
                </a:cubicBezTo>
                <a:lnTo>
                  <a:pt x="132749" y="39317"/>
                </a:lnTo>
                <a:lnTo>
                  <a:pt x="132749" y="26726"/>
                </a:lnTo>
                <a:cubicBezTo>
                  <a:pt x="132749" y="19772"/>
                  <a:pt x="138386" y="14135"/>
                  <a:pt x="145340" y="14135"/>
                </a:cubicBezTo>
                <a:cubicBezTo>
                  <a:pt x="152295" y="14135"/>
                  <a:pt x="157931" y="19772"/>
                  <a:pt x="157931" y="26726"/>
                </a:cubicBezTo>
                <a:moveTo>
                  <a:pt x="118059" y="39317"/>
                </a:moveTo>
                <a:lnTo>
                  <a:pt x="105468" y="39317"/>
                </a:lnTo>
                <a:cubicBezTo>
                  <a:pt x="98513" y="39317"/>
                  <a:pt x="92877" y="33680"/>
                  <a:pt x="92877" y="26726"/>
                </a:cubicBezTo>
                <a:cubicBezTo>
                  <a:pt x="92877" y="19772"/>
                  <a:pt x="98513" y="14135"/>
                  <a:pt x="105468" y="14135"/>
                </a:cubicBezTo>
                <a:cubicBezTo>
                  <a:pt x="112422" y="14135"/>
                  <a:pt x="118059" y="19772"/>
                  <a:pt x="118059" y="26726"/>
                </a:cubicBezTo>
                <a:close/>
                <a:moveTo>
                  <a:pt x="210814" y="78684"/>
                </a:moveTo>
                <a:lnTo>
                  <a:pt x="210814" y="50900"/>
                </a:lnTo>
                <a:cubicBezTo>
                  <a:pt x="210814" y="46844"/>
                  <a:pt x="207526" y="43556"/>
                  <a:pt x="203469" y="43556"/>
                </a:cubicBezTo>
                <a:lnTo>
                  <a:pt x="166766" y="43556"/>
                </a:lnTo>
                <a:cubicBezTo>
                  <a:pt x="175651" y="31388"/>
                  <a:pt x="172990" y="14322"/>
                  <a:pt x="160821" y="5437"/>
                </a:cubicBezTo>
                <a:cubicBezTo>
                  <a:pt x="149948" y="-2504"/>
                  <a:pt x="134906" y="-1323"/>
                  <a:pt x="125404" y="8218"/>
                </a:cubicBezTo>
                <a:cubicBezTo>
                  <a:pt x="114876" y="-2560"/>
                  <a:pt x="97603" y="-2763"/>
                  <a:pt x="86825" y="7765"/>
                </a:cubicBezTo>
                <a:cubicBezTo>
                  <a:pt x="77037" y="17327"/>
                  <a:pt x="75847" y="32661"/>
                  <a:pt x="84042" y="43619"/>
                </a:cubicBezTo>
                <a:lnTo>
                  <a:pt x="47339" y="43619"/>
                </a:lnTo>
                <a:cubicBezTo>
                  <a:pt x="43282" y="43619"/>
                  <a:pt x="39994" y="46907"/>
                  <a:pt x="39994" y="50963"/>
                </a:cubicBezTo>
                <a:lnTo>
                  <a:pt x="39994" y="78747"/>
                </a:lnTo>
                <a:cubicBezTo>
                  <a:pt x="39994" y="82803"/>
                  <a:pt x="43282" y="86091"/>
                  <a:pt x="47339" y="86091"/>
                </a:cubicBezTo>
                <a:lnTo>
                  <a:pt x="55145" y="86091"/>
                </a:lnTo>
                <a:lnTo>
                  <a:pt x="55145" y="147975"/>
                </a:lnTo>
                <a:cubicBezTo>
                  <a:pt x="55145" y="152031"/>
                  <a:pt x="58433" y="155319"/>
                  <a:pt x="62490" y="155319"/>
                </a:cubicBezTo>
                <a:cubicBezTo>
                  <a:pt x="66546" y="155319"/>
                  <a:pt x="69835" y="152031"/>
                  <a:pt x="69835" y="147975"/>
                </a:cubicBezTo>
                <a:lnTo>
                  <a:pt x="69835" y="78726"/>
                </a:lnTo>
                <a:cubicBezTo>
                  <a:pt x="69835" y="74669"/>
                  <a:pt x="66546" y="71381"/>
                  <a:pt x="62490" y="71381"/>
                </a:cubicBezTo>
                <a:lnTo>
                  <a:pt x="54683" y="71381"/>
                </a:lnTo>
                <a:lnTo>
                  <a:pt x="54683" y="58245"/>
                </a:lnTo>
                <a:lnTo>
                  <a:pt x="196104" y="58245"/>
                </a:lnTo>
                <a:lnTo>
                  <a:pt x="196104" y="71339"/>
                </a:lnTo>
                <a:lnTo>
                  <a:pt x="110064" y="71339"/>
                </a:lnTo>
                <a:cubicBezTo>
                  <a:pt x="106007" y="71339"/>
                  <a:pt x="102719" y="74627"/>
                  <a:pt x="102719" y="78684"/>
                </a:cubicBezTo>
                <a:cubicBezTo>
                  <a:pt x="102719" y="82740"/>
                  <a:pt x="106007" y="86028"/>
                  <a:pt x="110064" y="86028"/>
                </a:cubicBezTo>
                <a:lnTo>
                  <a:pt x="178728" y="86028"/>
                </a:lnTo>
                <a:lnTo>
                  <a:pt x="178728" y="147912"/>
                </a:lnTo>
                <a:cubicBezTo>
                  <a:pt x="178728" y="151968"/>
                  <a:pt x="182016" y="155257"/>
                  <a:pt x="186073" y="155257"/>
                </a:cubicBezTo>
                <a:cubicBezTo>
                  <a:pt x="190129" y="155257"/>
                  <a:pt x="193417" y="151968"/>
                  <a:pt x="193417" y="147912"/>
                </a:cubicBezTo>
                <a:lnTo>
                  <a:pt x="193417" y="86028"/>
                </a:lnTo>
                <a:lnTo>
                  <a:pt x="203365" y="86028"/>
                </a:lnTo>
                <a:cubicBezTo>
                  <a:pt x="207421" y="86028"/>
                  <a:pt x="210709" y="82740"/>
                  <a:pt x="210709" y="78684"/>
                </a:cubicBezTo>
                <a:moveTo>
                  <a:pt x="44149" y="227485"/>
                </a:moveTo>
                <a:cubicBezTo>
                  <a:pt x="44153" y="232700"/>
                  <a:pt x="39929" y="236933"/>
                  <a:pt x="34714" y="236937"/>
                </a:cubicBezTo>
                <a:cubicBezTo>
                  <a:pt x="29498" y="236941"/>
                  <a:pt x="25267" y="232717"/>
                  <a:pt x="25262" y="227502"/>
                </a:cubicBezTo>
                <a:cubicBezTo>
                  <a:pt x="25260" y="224992"/>
                  <a:pt x="26256" y="222586"/>
                  <a:pt x="28032" y="220812"/>
                </a:cubicBezTo>
                <a:lnTo>
                  <a:pt x="34328" y="214517"/>
                </a:lnTo>
                <a:lnTo>
                  <a:pt x="35755" y="215944"/>
                </a:lnTo>
                <a:cubicBezTo>
                  <a:pt x="36360" y="216546"/>
                  <a:pt x="37071" y="217029"/>
                  <a:pt x="37853" y="217371"/>
                </a:cubicBezTo>
                <a:lnTo>
                  <a:pt x="41337" y="220854"/>
                </a:lnTo>
                <a:cubicBezTo>
                  <a:pt x="43114" y="222619"/>
                  <a:pt x="44112" y="225022"/>
                  <a:pt x="44107" y="227527"/>
                </a:cubicBezTo>
                <a:moveTo>
                  <a:pt x="295784" y="129634"/>
                </a:moveTo>
                <a:cubicBezTo>
                  <a:pt x="279982" y="113833"/>
                  <a:pt x="259941" y="122374"/>
                  <a:pt x="251547" y="129089"/>
                </a:cubicBezTo>
                <a:cubicBezTo>
                  <a:pt x="251425" y="129175"/>
                  <a:pt x="251314" y="129273"/>
                  <a:pt x="251211" y="129383"/>
                </a:cubicBezTo>
                <a:lnTo>
                  <a:pt x="196859" y="178570"/>
                </a:lnTo>
                <a:cubicBezTo>
                  <a:pt x="190962" y="165980"/>
                  <a:pt x="177028" y="160838"/>
                  <a:pt x="168739" y="159915"/>
                </a:cubicBezTo>
                <a:lnTo>
                  <a:pt x="167920" y="159915"/>
                </a:lnTo>
                <a:lnTo>
                  <a:pt x="116926" y="159915"/>
                </a:lnTo>
                <a:cubicBezTo>
                  <a:pt x="86405" y="159825"/>
                  <a:pt x="57106" y="171910"/>
                  <a:pt x="35524" y="193490"/>
                </a:cubicBezTo>
                <a:lnTo>
                  <a:pt x="34768" y="194141"/>
                </a:lnTo>
                <a:lnTo>
                  <a:pt x="12629" y="171897"/>
                </a:lnTo>
                <a:cubicBezTo>
                  <a:pt x="9760" y="168999"/>
                  <a:pt x="5086" y="168976"/>
                  <a:pt x="2189" y="171845"/>
                </a:cubicBezTo>
                <a:cubicBezTo>
                  <a:pt x="-709" y="174713"/>
                  <a:pt x="-732" y="179387"/>
                  <a:pt x="2136" y="182285"/>
                </a:cubicBezTo>
                <a:lnTo>
                  <a:pt x="23898" y="204046"/>
                </a:lnTo>
                <a:lnTo>
                  <a:pt x="17602" y="210341"/>
                </a:lnTo>
                <a:cubicBezTo>
                  <a:pt x="8176" y="219763"/>
                  <a:pt x="8173" y="235042"/>
                  <a:pt x="17595" y="244468"/>
                </a:cubicBezTo>
                <a:cubicBezTo>
                  <a:pt x="27018" y="253894"/>
                  <a:pt x="42298" y="253899"/>
                  <a:pt x="51724" y="244477"/>
                </a:cubicBezTo>
                <a:cubicBezTo>
                  <a:pt x="61151" y="235055"/>
                  <a:pt x="61154" y="219774"/>
                  <a:pt x="51732" y="210347"/>
                </a:cubicBezTo>
                <a:cubicBezTo>
                  <a:pt x="51729" y="210345"/>
                  <a:pt x="51727" y="210343"/>
                  <a:pt x="51724" y="210341"/>
                </a:cubicBezTo>
                <a:lnTo>
                  <a:pt x="45429" y="204046"/>
                </a:lnTo>
                <a:lnTo>
                  <a:pt x="45597" y="203899"/>
                </a:lnTo>
                <a:cubicBezTo>
                  <a:pt x="64444" y="184945"/>
                  <a:pt x="90092" y="174321"/>
                  <a:pt x="116821" y="174394"/>
                </a:cubicBezTo>
                <a:lnTo>
                  <a:pt x="167396" y="174394"/>
                </a:lnTo>
                <a:cubicBezTo>
                  <a:pt x="170397" y="174835"/>
                  <a:pt x="184897" y="177647"/>
                  <a:pt x="184897" y="191413"/>
                </a:cubicBezTo>
                <a:cubicBezTo>
                  <a:pt x="184897" y="205179"/>
                  <a:pt x="170208" y="208012"/>
                  <a:pt x="167396" y="208431"/>
                </a:cubicBezTo>
                <a:lnTo>
                  <a:pt x="132707" y="208431"/>
                </a:lnTo>
                <a:cubicBezTo>
                  <a:pt x="128650" y="208431"/>
                  <a:pt x="125362" y="211720"/>
                  <a:pt x="125362" y="215776"/>
                </a:cubicBezTo>
                <a:cubicBezTo>
                  <a:pt x="125362" y="219832"/>
                  <a:pt x="128650" y="223121"/>
                  <a:pt x="132707" y="223121"/>
                </a:cubicBezTo>
                <a:lnTo>
                  <a:pt x="167983" y="223121"/>
                </a:lnTo>
                <a:cubicBezTo>
                  <a:pt x="168256" y="223142"/>
                  <a:pt x="168529" y="223142"/>
                  <a:pt x="168802" y="223121"/>
                </a:cubicBezTo>
                <a:cubicBezTo>
                  <a:pt x="178749" y="222008"/>
                  <a:pt x="196922" y="214874"/>
                  <a:pt x="199398" y="195841"/>
                </a:cubicBezTo>
                <a:cubicBezTo>
                  <a:pt x="199677" y="195664"/>
                  <a:pt x="199944" y="195467"/>
                  <a:pt x="200196" y="195253"/>
                </a:cubicBezTo>
                <a:lnTo>
                  <a:pt x="260906" y="140420"/>
                </a:lnTo>
                <a:cubicBezTo>
                  <a:pt x="263005" y="138847"/>
                  <a:pt x="275596" y="130054"/>
                  <a:pt x="285459" y="139980"/>
                </a:cubicBezTo>
                <a:cubicBezTo>
                  <a:pt x="295050" y="149570"/>
                  <a:pt x="287180" y="161594"/>
                  <a:pt x="285228" y="164238"/>
                </a:cubicBezTo>
                <a:lnTo>
                  <a:pt x="197636" y="243245"/>
                </a:lnTo>
                <a:lnTo>
                  <a:pt x="197363" y="243497"/>
                </a:lnTo>
                <a:cubicBezTo>
                  <a:pt x="193067" y="247824"/>
                  <a:pt x="187218" y="250249"/>
                  <a:pt x="181120" y="250233"/>
                </a:cubicBezTo>
                <a:lnTo>
                  <a:pt x="116758" y="250233"/>
                </a:lnTo>
                <a:cubicBezTo>
                  <a:pt x="82048" y="250233"/>
                  <a:pt x="66666" y="283451"/>
                  <a:pt x="63371" y="301015"/>
                </a:cubicBezTo>
                <a:cubicBezTo>
                  <a:pt x="62630" y="304994"/>
                  <a:pt x="65249" y="308824"/>
                  <a:pt x="69226" y="309577"/>
                </a:cubicBezTo>
                <a:cubicBezTo>
                  <a:pt x="69675" y="309659"/>
                  <a:pt x="70133" y="309701"/>
                  <a:pt x="70590" y="309703"/>
                </a:cubicBezTo>
                <a:cubicBezTo>
                  <a:pt x="74110" y="309688"/>
                  <a:pt x="77129" y="307195"/>
                  <a:pt x="77809" y="303743"/>
                </a:cubicBezTo>
                <a:cubicBezTo>
                  <a:pt x="78103" y="302149"/>
                  <a:pt x="85637" y="264922"/>
                  <a:pt x="116758" y="264922"/>
                </a:cubicBezTo>
                <a:lnTo>
                  <a:pt x="181120" y="264922"/>
                </a:lnTo>
                <a:cubicBezTo>
                  <a:pt x="191031" y="264934"/>
                  <a:pt x="200544" y="261010"/>
                  <a:pt x="207562" y="254010"/>
                </a:cubicBezTo>
                <a:lnTo>
                  <a:pt x="295532" y="174709"/>
                </a:lnTo>
                <a:cubicBezTo>
                  <a:pt x="295822" y="174439"/>
                  <a:pt x="296095" y="174151"/>
                  <a:pt x="296351" y="173849"/>
                </a:cubicBezTo>
                <a:cubicBezTo>
                  <a:pt x="303066" y="165455"/>
                  <a:pt x="311607" y="145394"/>
                  <a:pt x="295805" y="129613"/>
                </a:cubicBezTo>
              </a:path>
            </a:pathLst>
          </a:custGeom>
          <a:gradFill>
            <a:gsLst>
              <a:gs pos="0">
                <a:schemeClr val="accent5"/>
              </a:gs>
              <a:gs pos="100000">
                <a:schemeClr val="accent6"/>
              </a:gs>
            </a:gsLst>
            <a:lin ang="16200000" scaled="1"/>
          </a:gradFill>
          <a:ln w="1144" cap="flat">
            <a:noFill/>
            <a:prstDash val="solid"/>
            <a:miter/>
          </a:ln>
        </p:spPr>
        <p:txBody>
          <a:bodyPr rtlCol="0" anchor="ctr"/>
          <a:lstStyle/>
          <a:p>
            <a:endParaRPr lang="fr-FR" sz="2400"/>
          </a:p>
        </p:txBody>
      </p:sp>
    </p:spTree>
    <p:extLst>
      <p:ext uri="{BB962C8B-B14F-4D97-AF65-F5344CB8AC3E}">
        <p14:creationId xmlns:p14="http://schemas.microsoft.com/office/powerpoint/2010/main" val="29077714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hème Office">
  <a:themeElements>
    <a:clrScheme name="Personnalisé 1">
      <a:dk1>
        <a:sysClr val="windowText" lastClr="000000"/>
      </a:dk1>
      <a:lt1>
        <a:sysClr val="window" lastClr="FFFFFF"/>
      </a:lt1>
      <a:dk2>
        <a:srgbClr val="3F3F3F"/>
      </a:dk2>
      <a:lt2>
        <a:srgbClr val="FFFFFF"/>
      </a:lt2>
      <a:accent1>
        <a:srgbClr val="17428C"/>
      </a:accent1>
      <a:accent2>
        <a:srgbClr val="CE142E"/>
      </a:accent2>
      <a:accent3>
        <a:srgbClr val="E5531A"/>
      </a:accent3>
      <a:accent4>
        <a:srgbClr val="67B9B0"/>
      </a:accent4>
      <a:accent5>
        <a:srgbClr val="219CDC"/>
      </a:accent5>
      <a:accent6>
        <a:srgbClr val="17428C"/>
      </a:accent6>
      <a:hlink>
        <a:srgbClr val="CE142E"/>
      </a:hlink>
      <a:folHlink>
        <a:srgbClr val="E5531A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Digital&amp;IT_TemplatePPT_Light" id="{95603329-F753-4CFF-B4BF-A57A7A7CCAC4}" vid="{EB5CE0DE-A8FB-4C8E-BFC4-5D6316F9AC41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D5DAF06EE9D5AC44A9177678740E8E6A" ma:contentTypeVersion="4" ma:contentTypeDescription="Crée un document." ma:contentTypeScope="" ma:versionID="ce34737beaa7dc34d0b4dcbdb565c445">
  <xsd:schema xmlns:xsd="http://www.w3.org/2001/XMLSchema" xmlns:xs="http://www.w3.org/2001/XMLSchema" xmlns:p="http://schemas.microsoft.com/office/2006/metadata/properties" xmlns:ns2="0b96e5cc-e0e0-45f5-9ac4-a7fdbe2195db" targetNamespace="http://schemas.microsoft.com/office/2006/metadata/properties" ma:root="true" ma:fieldsID="d8e6732c6dac27ff1820f84ab4d3c588" ns2:_="">
    <xsd:import namespace="0b96e5cc-e0e0-45f5-9ac4-a7fdbe2195db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b96e5cc-e0e0-45f5-9ac4-a7fdbe2195db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11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ype de contenu"/>
        <xsd:element ref="dc:title" minOccurs="0" maxOccurs="1" ma:index="4" ma:displayName="Titr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9EADBA4B-D73A-4A3A-9035-E7473636BDE3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0b96e5cc-e0e0-45f5-9ac4-a7fdbe2195db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87BC315D-B37B-43A0-9B80-5581F702CAF8}">
  <ds:schemaRefs>
    <ds:schemaRef ds:uri="http://schemas.microsoft.com/office/2006/documentManagement/types"/>
    <ds:schemaRef ds:uri="http://schemas.openxmlformats.org/package/2006/metadata/core-properties"/>
    <ds:schemaRef ds:uri="http://purl.org/dc/elements/1.1/"/>
    <ds:schemaRef ds:uri="http://purl.org/dc/terms/"/>
    <ds:schemaRef ds:uri="http://schemas.microsoft.com/office/infopath/2007/PartnerControls"/>
    <ds:schemaRef ds:uri="http://www.w3.org/XML/1998/namespace"/>
    <ds:schemaRef ds:uri="0b96e5cc-e0e0-45f5-9ac4-a7fdbe2195db"/>
    <ds:schemaRef ds:uri="http://schemas.microsoft.com/office/2006/metadata/properties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CA3892FD-C7D2-40C0-92C1-2B66139090D3}">
  <ds:schemaRefs>
    <ds:schemaRef ds:uri="http://schemas.microsoft.com/sharepoint/v3/contenttype/forms"/>
  </ds:schemaRefs>
</ds:datastoreItem>
</file>

<file path=docMetadata/LabelInfo.xml><?xml version="1.0" encoding="utf-8"?>
<clbl:labelList xmlns:clbl="http://schemas.microsoft.com/office/2020/mipLabelMetadata">
  <clbl:label id="{90754b47-c413-4aa1-bfc3-c33089241f4f}" enabled="1" method="Standard" siteId="{e339bd4b-2e3b-4035-a452-2112d502f2ff}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Light_Digital&amp;IT_TemplatePPT</Template>
  <TotalTime>1771</TotalTime>
  <Words>145</Words>
  <Application>Microsoft Office PowerPoint</Application>
  <PresentationFormat>Widescreen</PresentationFormat>
  <Paragraphs>34</Paragraphs>
  <Slides>4</Slides>
  <Notes>3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</vt:i4>
      </vt:variant>
    </vt:vector>
  </HeadingPairs>
  <TitlesOfParts>
    <vt:vector size="11" baseType="lpstr">
      <vt:lpstr>Aptos</vt:lpstr>
      <vt:lpstr>Arial</vt:lpstr>
      <vt:lpstr>Calibri</vt:lpstr>
      <vt:lpstr>Lovelo Line Light</vt:lpstr>
      <vt:lpstr>Wingdings</vt:lpstr>
      <vt:lpstr>Thème Office</vt:lpstr>
      <vt:lpstr>think-cell Slide</vt:lpstr>
      <vt:lpstr>DSP og andre systemer</vt:lpstr>
      <vt:lpstr>Hva er dSP?</vt:lpstr>
      <vt:lpstr>Valg av Systemarkitektur</vt:lpstr>
      <vt:lpstr>Andre systemer </vt:lpstr>
    </vt:vector>
  </TitlesOfParts>
  <Company>SAINT-GOBAIN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Solberg, Aleksander - SGDN</dc:creator>
  <cp:lastModifiedBy>Solberg, Aleksander - SGDN</cp:lastModifiedBy>
  <cp:revision>1</cp:revision>
  <dcterms:created xsi:type="dcterms:W3CDTF">2026-06-01T07:44:35Z</dcterms:created>
  <dcterms:modified xsi:type="dcterms:W3CDTF">2026-06-04T12:32:5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D5DAF06EE9D5AC44A9177678740E8E6A</vt:lpwstr>
  </property>
</Properties>
</file>